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57.xml" ContentType="application/vnd.openxmlformats-officedocument.presentationml.slideLayout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Override1.xml" ContentType="application/vnd.openxmlformats-officedocument.themeOverride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notesSlides/notesSlide23.xml" ContentType="application/vnd.openxmlformats-officedocument.presentationml.notesSlide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notesSlides/notesSlide12.xml" ContentType="application/vnd.openxmlformats-officedocument.presentationml.notesSlide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theme/theme10.xml" ContentType="application/vnd.openxmlformats-officedocument.them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notesSlides/notesSlide17.xml" ContentType="application/vnd.openxmlformats-officedocument.presentationml.notesSlide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61.xml" ContentType="application/vnd.openxmlformats-officedocument.presentationml.slideLayout+xml"/>
  <Override PartName="/ppt/notesSlides/notesSlide15.xml" ContentType="application/vnd.openxmlformats-officedocument.presentationml.notesSlide+xml"/>
  <Override PartName="/ppt/tags/tag1.xml" ContentType="application/vnd.openxmlformats-officedocument.presentationml.tags+xml"/>
  <Override PartName="/ppt/notesSlides/notesSlide24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50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Default Extension="wdp" ContentType="image/vnd.ms-photo"/>
  <Override PartName="/ppt/slideMasters/slideMaster9.xml" ContentType="application/vnd.openxmlformats-officedocument.presentationml.slideMaster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Default Extension="gif" ContentType="image/gif"/>
  <Override PartName="/ppt/notesSlides/notesSlide20.xml" ContentType="application/vnd.openxmlformats-officedocument.presentationml.notesSlide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heme/theme9.xml" ContentType="application/vnd.openxmlformats-officedocument.theme+xml"/>
  <Override PartName="/ppt/notesSlides/notesSlide6.xml" ContentType="application/vnd.openxmlformats-officedocument.presentationml.notesSlide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theme/theme7.xml" ContentType="application/vnd.openxmlformats-officedocument.theme+xml"/>
  <Override PartName="/ppt/slideLayouts/slideLayout59.xml" ContentType="application/vnd.openxmlformats-officedocument.presentationml.slideLayout+xml"/>
  <Override PartName="/ppt/theme/theme11.xml" ContentType="application/vnd.openxmlformats-officedocument.them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Default Extension="wmf" ContentType="image/x-wmf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notesSlides/notesSlide25.xml" ContentType="application/vnd.openxmlformats-officedocument.presentationml.notesSlide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theme/theme12.xml" ContentType="application/vnd.openxmlformats-officedocument.them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notesSlides/notesSlide19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94" r:id="rId2"/>
    <p:sldMasterId id="2147483715" r:id="rId3"/>
    <p:sldMasterId id="2147483721" r:id="rId4"/>
    <p:sldMasterId id="2147483724" r:id="rId5"/>
    <p:sldMasterId id="2147483744" r:id="rId6"/>
    <p:sldMasterId id="2147483765" r:id="rId7"/>
    <p:sldMasterId id="2147483771" r:id="rId8"/>
    <p:sldMasterId id="2147483778" r:id="rId9"/>
    <p:sldMasterId id="2147483786" r:id="rId10"/>
    <p:sldMasterId id="2147483792" r:id="rId11"/>
  </p:sldMasterIdLst>
  <p:notesMasterIdLst>
    <p:notesMasterId r:id="rId39"/>
  </p:notesMasterIdLst>
  <p:sldIdLst>
    <p:sldId id="256" r:id="rId12"/>
    <p:sldId id="342" r:id="rId13"/>
    <p:sldId id="344" r:id="rId14"/>
    <p:sldId id="287" r:id="rId15"/>
    <p:sldId id="339" r:id="rId16"/>
    <p:sldId id="346" r:id="rId17"/>
    <p:sldId id="352" r:id="rId18"/>
    <p:sldId id="363" r:id="rId19"/>
    <p:sldId id="343" r:id="rId20"/>
    <p:sldId id="372" r:id="rId21"/>
    <p:sldId id="368" r:id="rId22"/>
    <p:sldId id="371" r:id="rId23"/>
    <p:sldId id="297" r:id="rId24"/>
    <p:sldId id="370" r:id="rId25"/>
    <p:sldId id="303" r:id="rId26"/>
    <p:sldId id="302" r:id="rId27"/>
    <p:sldId id="306" r:id="rId28"/>
    <p:sldId id="307" r:id="rId29"/>
    <p:sldId id="338" r:id="rId30"/>
    <p:sldId id="319" r:id="rId31"/>
    <p:sldId id="320" r:id="rId32"/>
    <p:sldId id="360" r:id="rId33"/>
    <p:sldId id="361" r:id="rId34"/>
    <p:sldId id="323" r:id="rId35"/>
    <p:sldId id="329" r:id="rId36"/>
    <p:sldId id="357" r:id="rId37"/>
    <p:sldId id="373" r:id="rId38"/>
  </p:sldIdLst>
  <p:sldSz cx="12190413" cy="6858000"/>
  <p:notesSz cx="6858000" cy="9144000"/>
  <p:defaultTextStyle>
    <a:defPPr>
      <a:defRPr lang="zh-CN"/>
    </a:defPPr>
    <a:lvl1pPr marL="0" algn="l" defTabSz="91224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6130" algn="l" defTabSz="91224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2247" algn="l" defTabSz="91224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68390" algn="l" defTabSz="91224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4506" algn="l" defTabSz="91224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0635" algn="l" defTabSz="91224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36761" algn="l" defTabSz="91224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192883" algn="l" defTabSz="91224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49014" algn="l" defTabSz="91224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6876" autoAdjust="0"/>
    <p:restoredTop sz="76588" autoAdjust="0"/>
  </p:normalViewPr>
  <p:slideViewPr>
    <p:cSldViewPr>
      <p:cViewPr>
        <p:scale>
          <a:sx n="50" d="100"/>
          <a:sy n="50" d="100"/>
        </p:scale>
        <p:origin x="-1216" y="-1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tableStyles" Target="tableStyle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2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D:\&#22823;&#21326;\&#27169;&#25311;&#25668;&#24433;&#26426;&#36873;&#22411;\&#38144;&#21806;&#25968;&#25454;&#20998;&#26512;\2012\&#21103;&#26412;2012&#24180;1-9&#26376;&#38144;&#21806;&#39069;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plotArea>
      <c:layout/>
      <c:lineChart>
        <c:grouping val="standard"/>
        <c:ser>
          <c:idx val="0"/>
          <c:order val="0"/>
          <c:tx>
            <c:strRef>
              <c:f>Sheet1!$A$2</c:f>
              <c:strCache>
                <c:ptCount val="1"/>
                <c:pt idx="0">
                  <c:v>配件</c:v>
                </c:pt>
              </c:strCache>
            </c:strRef>
          </c:tx>
          <c:val>
            <c:numRef>
              <c:f>Sheet1!$B$2:$J$2</c:f>
              <c:numCache>
                <c:formatCode>General</c:formatCode>
                <c:ptCount val="9"/>
                <c:pt idx="0">
                  <c:v>11</c:v>
                </c:pt>
                <c:pt idx="1">
                  <c:v>30</c:v>
                </c:pt>
                <c:pt idx="2">
                  <c:v>17</c:v>
                </c:pt>
                <c:pt idx="3">
                  <c:v>29</c:v>
                </c:pt>
                <c:pt idx="4">
                  <c:v>71</c:v>
                </c:pt>
                <c:pt idx="5">
                  <c:v>153</c:v>
                </c:pt>
                <c:pt idx="6">
                  <c:v>89</c:v>
                </c:pt>
                <c:pt idx="7">
                  <c:v>183</c:v>
                </c:pt>
                <c:pt idx="8">
                  <c:v>96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模拟摄像机</c:v>
                </c:pt>
              </c:strCache>
            </c:strRef>
          </c:tx>
          <c:val>
            <c:numRef>
              <c:f>Sheet1!$B$3:$J$3</c:f>
              <c:numCache>
                <c:formatCode>General</c:formatCode>
                <c:ptCount val="9"/>
                <c:pt idx="0">
                  <c:v>509</c:v>
                </c:pt>
                <c:pt idx="1">
                  <c:v>807</c:v>
                </c:pt>
                <c:pt idx="2">
                  <c:v>1475</c:v>
                </c:pt>
                <c:pt idx="3">
                  <c:v>3934</c:v>
                </c:pt>
                <c:pt idx="4">
                  <c:v>3600</c:v>
                </c:pt>
                <c:pt idx="5">
                  <c:v>2695</c:v>
                </c:pt>
                <c:pt idx="6">
                  <c:v>2496</c:v>
                </c:pt>
                <c:pt idx="7">
                  <c:v>3110</c:v>
                </c:pt>
                <c:pt idx="8">
                  <c:v>3024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模拟摄像机（除考院）</c:v>
                </c:pt>
              </c:strCache>
            </c:strRef>
          </c:tx>
          <c:val>
            <c:numRef>
              <c:f>Sheet1!$B$4:$J$4</c:f>
              <c:numCache>
                <c:formatCode>General</c:formatCode>
                <c:ptCount val="9"/>
                <c:pt idx="0">
                  <c:v>509</c:v>
                </c:pt>
                <c:pt idx="1">
                  <c:v>807</c:v>
                </c:pt>
                <c:pt idx="2">
                  <c:v>1371</c:v>
                </c:pt>
                <c:pt idx="3">
                  <c:v>1302</c:v>
                </c:pt>
                <c:pt idx="4">
                  <c:v>2437</c:v>
                </c:pt>
                <c:pt idx="5">
                  <c:v>2600</c:v>
                </c:pt>
                <c:pt idx="6">
                  <c:v>2343</c:v>
                </c:pt>
                <c:pt idx="7">
                  <c:v>2846</c:v>
                </c:pt>
                <c:pt idx="8">
                  <c:v>2794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球机</c:v>
                </c:pt>
              </c:strCache>
            </c:strRef>
          </c:tx>
          <c:marker>
            <c:symbol val="circle"/>
            <c:size val="7"/>
          </c:marker>
          <c:val>
            <c:numRef>
              <c:f>Sheet1!$B$5:$J$5</c:f>
              <c:numCache>
                <c:formatCode>General</c:formatCode>
                <c:ptCount val="9"/>
                <c:pt idx="0">
                  <c:v>652</c:v>
                </c:pt>
                <c:pt idx="1">
                  <c:v>1505</c:v>
                </c:pt>
                <c:pt idx="2">
                  <c:v>1641</c:v>
                </c:pt>
                <c:pt idx="3">
                  <c:v>2008</c:v>
                </c:pt>
                <c:pt idx="4">
                  <c:v>2659</c:v>
                </c:pt>
                <c:pt idx="5">
                  <c:v>1930</c:v>
                </c:pt>
                <c:pt idx="6">
                  <c:v>2636</c:v>
                </c:pt>
                <c:pt idx="7">
                  <c:v>3849</c:v>
                </c:pt>
                <c:pt idx="8">
                  <c:v>4363</c:v>
                </c:pt>
              </c:numCache>
            </c:numRef>
          </c:val>
        </c:ser>
        <c:marker val="1"/>
        <c:axId val="62364288"/>
        <c:axId val="71643520"/>
      </c:lineChart>
      <c:catAx>
        <c:axId val="62364288"/>
        <c:scaling>
          <c:orientation val="minMax"/>
        </c:scaling>
        <c:axPos val="b"/>
        <c:tickLblPos val="nextTo"/>
        <c:crossAx val="71643520"/>
        <c:crosses val="autoZero"/>
        <c:auto val="1"/>
        <c:lblAlgn val="ctr"/>
        <c:lblOffset val="100"/>
      </c:catAx>
      <c:valAx>
        <c:axId val="71643520"/>
        <c:scaling>
          <c:orientation val="minMax"/>
        </c:scaling>
        <c:axPos val="l"/>
        <c:majorGridlines/>
        <c:numFmt formatCode="General" sourceLinked="1"/>
        <c:tickLblPos val="nextTo"/>
        <c:crossAx val="62364288"/>
        <c:crosses val="autoZero"/>
        <c:crossBetween val="between"/>
      </c:valAx>
    </c:plotArea>
    <c:legend>
      <c:legendPos val="r"/>
      <c:layout/>
    </c:legend>
    <c:plotVisOnly val="1"/>
    <c:dispBlanksAs val="gap"/>
  </c:chart>
  <c:externalData r:id="rId2"/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67B0D2-CA02-431E-B97F-EAB274AF419D}" type="datetimeFigureOut">
              <a:rPr lang="zh-CN" altLang="en-US" smtClean="0"/>
              <a:pPr/>
              <a:t>2017/1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948D32-BA77-46DE-9ACF-A9CBF69D95D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10088089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22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130" algn="l" defTabSz="9122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247" algn="l" defTabSz="9122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8390" algn="l" defTabSz="9122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4506" algn="l" defTabSz="9122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0635" algn="l" defTabSz="9122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6761" algn="l" defTabSz="9122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2883" algn="l" defTabSz="9122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9014" algn="l" defTabSz="9122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1</a:t>
            </a:r>
            <a:r>
              <a:rPr lang="zh-CN" altLang="en-US" dirty="0" smtClean="0"/>
              <a:t>、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â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ạn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ượ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giớ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ệ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ớ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quý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ị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giả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pháp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giám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sá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ệ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ố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phươ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iệ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gia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ông</a:t>
            </a:r>
            <a:r>
              <a:rPr lang="en-US" altLang="zh-CN" baseline="0" dirty="0" smtClean="0"/>
              <a:t>. </a:t>
            </a:r>
            <a:r>
              <a:rPr lang="en-US" altLang="zh-CN" baseline="0" dirty="0" err="1" smtClean="0"/>
              <a:t>Trướ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iê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a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ã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xem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một</a:t>
            </a:r>
            <a:r>
              <a:rPr lang="en-US" altLang="zh-CN" baseline="0" dirty="0" smtClean="0"/>
              <a:t> clip </a:t>
            </a:r>
            <a:r>
              <a:rPr lang="en-US" altLang="zh-CN" baseline="0" dirty="0" err="1" smtClean="0"/>
              <a:t>để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ó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ì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ổ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qua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ề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ệ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ố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ày</a:t>
            </a:r>
            <a:r>
              <a:rPr lang="en-US" altLang="zh-CN" baseline="0" dirty="0" smtClean="0"/>
              <a:t>.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948D32-BA77-46DE-9ACF-A9CBF69D95D8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9264680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10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Trướ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â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ầ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iề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ị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phụ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ể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quả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ý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ấ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ả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ị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ộng</a:t>
            </a:r>
            <a:r>
              <a:rPr lang="en-US" altLang="zh-CN" baseline="0" dirty="0" smtClean="0"/>
              <a:t>. </a:t>
            </a:r>
            <a:r>
              <a:rPr lang="en-US" altLang="zh-CN" baseline="0" dirty="0" err="1" smtClean="0"/>
              <a:t>Như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iệ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ạ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ỉ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ần</a:t>
            </a:r>
            <a:r>
              <a:rPr lang="en-US" altLang="zh-CN" baseline="0" dirty="0" smtClean="0"/>
              <a:t> 1 </a:t>
            </a:r>
            <a:r>
              <a:rPr lang="en-US" altLang="zh-CN" baseline="0" dirty="0" err="1" smtClean="0"/>
              <a:t>nề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ảng</a:t>
            </a:r>
            <a:r>
              <a:rPr lang="en-US" altLang="zh-CN" baseline="0" dirty="0" smtClean="0"/>
              <a:t> DSS,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ó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ể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ự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iệ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ấ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ả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a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quả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ý</a:t>
            </a:r>
            <a:r>
              <a:rPr lang="en-US" altLang="zh-CN" baseline="0" dirty="0" smtClean="0"/>
              <a:t>, </a:t>
            </a:r>
            <a:r>
              <a:rPr lang="en-US" altLang="zh-CN" baseline="0" dirty="0" err="1" smtClean="0"/>
              <a:t>điề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khiển</a:t>
            </a:r>
            <a:r>
              <a:rPr lang="en-US" altLang="zh-CN" baseline="0" dirty="0" smtClean="0"/>
              <a:t>, </a:t>
            </a:r>
            <a:r>
              <a:rPr lang="en-US" altLang="zh-CN" baseline="0" dirty="0" err="1" smtClean="0"/>
              <a:t>lư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rữ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ru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âm</a:t>
            </a:r>
            <a:r>
              <a:rPr lang="en-US" altLang="zh-CN" baseline="0" dirty="0" smtClean="0"/>
              <a:t>, </a:t>
            </a:r>
            <a:r>
              <a:rPr lang="en-US" altLang="zh-CN" baseline="0" dirty="0" err="1" smtClean="0"/>
              <a:t>quả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ý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á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ộng</a:t>
            </a:r>
            <a:r>
              <a:rPr lang="en-US" altLang="zh-CN" baseline="0" dirty="0" smtClean="0"/>
              <a:t>,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ín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ă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ông</a:t>
            </a:r>
            <a:r>
              <a:rPr lang="en-US" altLang="zh-CN" baseline="0" dirty="0" smtClean="0"/>
              <a:t> minh. </a:t>
            </a:r>
            <a:r>
              <a:rPr lang="en-US" altLang="zh-CN" baseline="0" dirty="0" err="1" smtClean="0"/>
              <a:t>Phầ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mềm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quả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ý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ò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ó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ể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ượ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à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ặ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rê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iệ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oạ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giúp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iệ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iề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khiể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ệ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ố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in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oạ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ơn</a:t>
            </a:r>
            <a:r>
              <a:rPr lang="en-US" altLang="zh-CN" baseline="0" dirty="0" smtClean="0"/>
              <a:t>.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948D32-BA77-46DE-9ACF-A9CBF69D95D8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8808390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11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Đâ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à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ữ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ị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sử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ụ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ạ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ru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âm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iề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khiển</a:t>
            </a:r>
            <a:r>
              <a:rPr lang="en-US" altLang="zh-CN" baseline="0" dirty="0" smtClean="0"/>
              <a:t>. </a:t>
            </a:r>
            <a:r>
              <a:rPr lang="en-US" altLang="zh-CN" baseline="0" dirty="0" err="1" smtClean="0"/>
              <a:t>Đố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ớ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ự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á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ó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qu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mô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kh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a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ì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ầ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sử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ụ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ề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ả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quả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ý</a:t>
            </a:r>
            <a:r>
              <a:rPr lang="en-US" altLang="zh-CN" baseline="0" dirty="0" smtClean="0"/>
              <a:t> DSS </a:t>
            </a:r>
            <a:r>
              <a:rPr lang="en-US" altLang="zh-CN" baseline="0" dirty="0" err="1" smtClean="0"/>
              <a:t>kh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au</a:t>
            </a:r>
            <a:r>
              <a:rPr lang="en-US" altLang="zh-CN" baseline="0" dirty="0" smtClean="0"/>
              <a:t>.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ề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ả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à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ũ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ó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ể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ượ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k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ợp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ớ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a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ể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áp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ứ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ớ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ự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á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à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gà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ị</a:t>
            </a:r>
            <a:r>
              <a:rPr lang="en-US" altLang="zh-CN" baseline="0" dirty="0" smtClean="0"/>
              <a:t>.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948D32-BA77-46DE-9ACF-A9CBF69D95D8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11693479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12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Đâ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à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ị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ườ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ượ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à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ặ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rê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phươ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iệ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gia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ông</a:t>
            </a:r>
            <a:r>
              <a:rPr lang="en-US" altLang="zh-CN" baseline="0" dirty="0" smtClean="0"/>
              <a:t>. </a:t>
            </a:r>
            <a:r>
              <a:rPr lang="en-US" altLang="zh-CN" baseline="0" dirty="0" err="1" smtClean="0"/>
              <a:t>Ngoà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oại</a:t>
            </a:r>
            <a:r>
              <a:rPr lang="en-US" altLang="zh-CN" baseline="0" dirty="0" smtClean="0"/>
              <a:t> camera analog </a:t>
            </a:r>
            <a:r>
              <a:rPr lang="en-US" altLang="zh-CN" baseline="0" dirty="0" err="1" smtClean="0"/>
              <a:t>truyề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ống</a:t>
            </a:r>
            <a:r>
              <a:rPr lang="en-US" altLang="zh-CN" baseline="0" dirty="0" smtClean="0"/>
              <a:t>,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oại</a:t>
            </a:r>
            <a:r>
              <a:rPr lang="en-US" altLang="zh-CN" baseline="0" dirty="0" smtClean="0"/>
              <a:t> camera IP,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ò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u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ứ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ị</a:t>
            </a:r>
            <a:r>
              <a:rPr lang="en-US" altLang="zh-CN" baseline="0" dirty="0" smtClean="0"/>
              <a:t> HDCVI. </a:t>
            </a:r>
            <a:r>
              <a:rPr lang="en-US" altLang="zh-CN" baseline="0" dirty="0" err="1" smtClean="0"/>
              <a:t>Tấ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ả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camera </a:t>
            </a:r>
            <a:r>
              <a:rPr lang="en-US" altLang="zh-CN" baseline="0" dirty="0" err="1" smtClean="0"/>
              <a:t>của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ượ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u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ấp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guồ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iệ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à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ruyề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ả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í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iệ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ông</a:t>
            </a:r>
            <a:r>
              <a:rPr lang="en-US" altLang="zh-CN" baseline="0" dirty="0" smtClean="0"/>
              <a:t> qua </a:t>
            </a:r>
            <a:r>
              <a:rPr lang="en-US" altLang="zh-CN" baseline="0" dirty="0" err="1" smtClean="0"/>
              <a:t>mộ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â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p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u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ất</a:t>
            </a:r>
            <a:r>
              <a:rPr lang="en-US" altLang="zh-CN" baseline="0" dirty="0" smtClean="0"/>
              <a:t>.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948D32-BA77-46DE-9ACF-A9CBF69D95D8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11693479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13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Vớ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ấ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ả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ị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ượ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giớ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ệu</a:t>
            </a:r>
            <a:r>
              <a:rPr lang="en-US" altLang="zh-CN" baseline="0" dirty="0" smtClean="0"/>
              <a:t> ở </a:t>
            </a:r>
            <a:r>
              <a:rPr lang="en-US" altLang="zh-CN" baseline="0" dirty="0" err="1" smtClean="0"/>
              <a:t>trê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ó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ể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u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ấp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ạ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ữ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ín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ă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gì</a:t>
            </a:r>
            <a:r>
              <a:rPr lang="en-US" altLang="zh-CN" baseline="0" dirty="0" smtClean="0"/>
              <a:t>?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948D32-BA77-46DE-9ACF-A9CBF69D95D8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22939486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240156">
              <a:lnSpc>
                <a:spcPct val="90000"/>
              </a:lnSpc>
              <a:spcBef>
                <a:spcPts val="1599"/>
              </a:spcBef>
            </a:pPr>
            <a:r>
              <a:rPr lang="en-US" altLang="zh-CN" baseline="0" dirty="0" smtClean="0"/>
              <a:t>14</a:t>
            </a:r>
            <a:r>
              <a:rPr lang="zh-CN" altLang="en-US" baseline="0" dirty="0" smtClean="0"/>
              <a:t>、</a:t>
            </a:r>
            <a:r>
              <a:rPr lang="en-US" altLang="zh-CN" baseline="0" dirty="0" err="1" smtClean="0"/>
              <a:t>Đầ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iê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â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à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mộ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ín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ă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rấ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iệ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quả</a:t>
            </a:r>
            <a:r>
              <a:rPr lang="en-US" altLang="zh-CN" baseline="0" dirty="0" smtClean="0"/>
              <a:t>. </a:t>
            </a:r>
          </a:p>
          <a:p>
            <a:pPr defTabSz="1240156">
              <a:lnSpc>
                <a:spcPct val="90000"/>
              </a:lnSpc>
              <a:spcBef>
                <a:spcPts val="1599"/>
              </a:spcBef>
            </a:pPr>
            <a:r>
              <a:rPr lang="en-US" altLang="zh-CN" b="1" baseline="0" dirty="0" err="1" smtClean="0"/>
              <a:t>Hệ</a:t>
            </a:r>
            <a:r>
              <a:rPr lang="en-US" altLang="zh-CN" b="1" baseline="0" dirty="0" smtClean="0"/>
              <a:t> </a:t>
            </a:r>
            <a:r>
              <a:rPr lang="en-US" altLang="zh-CN" b="1" baseline="0" dirty="0" err="1" smtClean="0"/>
              <a:t>thống</a:t>
            </a:r>
            <a:r>
              <a:rPr lang="en-US" altLang="zh-CN" b="1" baseline="0" dirty="0" smtClean="0"/>
              <a:t> </a:t>
            </a:r>
            <a:r>
              <a:rPr lang="en-US" altLang="zh-CN" b="1" baseline="0" dirty="0" err="1" smtClean="0"/>
              <a:t>dự</a:t>
            </a:r>
            <a:r>
              <a:rPr lang="en-US" altLang="zh-CN" b="1" baseline="0" dirty="0" smtClean="0"/>
              <a:t> </a:t>
            </a:r>
            <a:r>
              <a:rPr lang="en-US" altLang="zh-CN" b="1" baseline="0" dirty="0" err="1" smtClean="0"/>
              <a:t>phòng</a:t>
            </a:r>
            <a:r>
              <a:rPr lang="en-US" altLang="zh-CN" b="1" baseline="0" dirty="0" smtClean="0"/>
              <a:t> </a:t>
            </a:r>
            <a:r>
              <a:rPr lang="en-US" altLang="zh-CN" b="1" baseline="0" dirty="0" err="1" smtClean="0"/>
              <a:t>dữ</a:t>
            </a:r>
            <a:r>
              <a:rPr lang="en-US" altLang="zh-CN" b="1" baseline="0" dirty="0" smtClean="0"/>
              <a:t> </a:t>
            </a:r>
            <a:r>
              <a:rPr lang="en-US" altLang="zh-CN" b="1" baseline="0" dirty="0" err="1" smtClean="0"/>
              <a:t>liệu</a:t>
            </a:r>
            <a:r>
              <a:rPr lang="en-US" altLang="zh-CN" b="1" baseline="0" dirty="0" smtClean="0"/>
              <a:t> </a:t>
            </a:r>
            <a:r>
              <a:rPr lang="en-US" altLang="zh-CN" b="1" baseline="0" dirty="0" err="1" smtClean="0"/>
              <a:t>không</a:t>
            </a:r>
            <a:r>
              <a:rPr lang="en-US" altLang="zh-CN" b="1" baseline="0" dirty="0" smtClean="0"/>
              <a:t> </a:t>
            </a:r>
            <a:r>
              <a:rPr lang="en-US" altLang="zh-CN" b="1" baseline="0" dirty="0" err="1" smtClean="0"/>
              <a:t>dây</a:t>
            </a:r>
            <a:r>
              <a:rPr lang="en-US" altLang="zh-CN" baseline="0" dirty="0" smtClean="0"/>
              <a:t>: </a:t>
            </a:r>
            <a:r>
              <a:rPr lang="en-US" altLang="zh-CN" baseline="0" dirty="0" err="1" smtClean="0"/>
              <a:t>kh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phươ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iệ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rở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ạ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ến</a:t>
            </a:r>
            <a:r>
              <a:rPr lang="en-US" altLang="zh-CN" baseline="0" dirty="0" smtClean="0"/>
              <a:t>, </a:t>
            </a:r>
            <a:r>
              <a:rPr lang="en-US" altLang="zh-CN" baseline="0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ị</a:t>
            </a:r>
            <a:r>
              <a:rPr lang="en-US" altLang="zh-CN" baseline="0" dirty="0" smtClean="0"/>
              <a:t> DVR </a:t>
            </a:r>
            <a:r>
              <a:rPr lang="en-US" altLang="zh-CN" baseline="0" dirty="0" err="1" smtClean="0"/>
              <a:t>sẽ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uyể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ừ</a:t>
            </a:r>
            <a:r>
              <a:rPr lang="en-US" altLang="zh-CN" baseline="0" dirty="0" smtClean="0"/>
              <a:t> 3G sang </a:t>
            </a:r>
            <a:r>
              <a:rPr lang="en-US" altLang="zh-CN" baseline="0" dirty="0" err="1" smtClean="0"/>
              <a:t>Wi-f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ế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ó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phá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iệ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ấ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í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iệ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Wi-fi</a:t>
            </a:r>
            <a:r>
              <a:rPr lang="en-US" altLang="zh-CN" baseline="0" dirty="0" smtClean="0"/>
              <a:t>. </a:t>
            </a:r>
            <a:r>
              <a:rPr lang="en-US" altLang="zh-CN" baseline="0" dirty="0" err="1" smtClean="0"/>
              <a:t>Kh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ó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ệ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ống</a:t>
            </a:r>
            <a:r>
              <a:rPr lang="en-US" altLang="zh-CN" baseline="0" dirty="0" smtClean="0"/>
              <a:t> server </a:t>
            </a:r>
            <a:r>
              <a:rPr lang="en-US" altLang="zh-CN" baseline="0" dirty="0" err="1" smtClean="0"/>
              <a:t>của</a:t>
            </a:r>
            <a:r>
              <a:rPr lang="en-US" altLang="zh-CN" baseline="0" dirty="0" smtClean="0"/>
              <a:t> DSS </a:t>
            </a:r>
            <a:r>
              <a:rPr lang="en-US" altLang="zh-CN" baseline="0" dirty="0" err="1" smtClean="0"/>
              <a:t>sẽ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ự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ộ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sa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ư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ữ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iệ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ự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phò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ừ</a:t>
            </a:r>
            <a:r>
              <a:rPr lang="en-US" altLang="zh-CN" baseline="0" dirty="0" smtClean="0"/>
              <a:t> DVR </a:t>
            </a:r>
            <a:r>
              <a:rPr lang="en-US" altLang="zh-CN" baseline="0" dirty="0" err="1" smtClean="0"/>
              <a:t>của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xe</a:t>
            </a:r>
            <a:r>
              <a:rPr lang="en-US" altLang="zh-CN" baseline="0" dirty="0" smtClean="0"/>
              <a:t>.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F1C1BF-8ACB-4966-8A69-58F5FB4102C1}" type="slidenum">
              <a:rPr lang="zh-CN" altLang="en-US" smtClean="0">
                <a:solidFill>
                  <a:prstClr val="black"/>
                </a:solidFill>
              </a:rPr>
              <a:pPr/>
              <a:t>1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173697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15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Vị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rí</a:t>
            </a:r>
            <a:r>
              <a:rPr lang="en-US" altLang="zh-CN" baseline="0" dirty="0" smtClean="0"/>
              <a:t> chi </a:t>
            </a:r>
            <a:r>
              <a:rPr lang="en-US" altLang="zh-CN" baseline="0" dirty="0" err="1" smtClean="0"/>
              <a:t>tiết</a:t>
            </a:r>
            <a:r>
              <a:rPr lang="en-US" altLang="zh-CN" baseline="0" dirty="0" smtClean="0"/>
              <a:t>: </a:t>
            </a:r>
            <a:r>
              <a:rPr lang="en-US" altLang="zh-CN" baseline="0" dirty="0" err="1" smtClean="0"/>
              <a:t>Tấ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ả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phươ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iệ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sẽ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ượ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ể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iệ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rê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ả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ồ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a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gồ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ả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ị</a:t>
            </a:r>
            <a:r>
              <a:rPr lang="en-US" altLang="zh-CN" baseline="0" dirty="0" smtClean="0"/>
              <a:t>  </a:t>
            </a:r>
            <a:r>
              <a:rPr lang="en-US" altLang="zh-CN" baseline="0" dirty="0" err="1" smtClean="0"/>
              <a:t>trí</a:t>
            </a:r>
            <a:r>
              <a:rPr lang="en-US" altLang="zh-CN" baseline="0" dirty="0" smtClean="0"/>
              <a:t> (GPS), </a:t>
            </a:r>
            <a:r>
              <a:rPr lang="en-US" altLang="zh-CN" baseline="0" dirty="0" err="1" smtClean="0"/>
              <a:t>tố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ộ</a:t>
            </a:r>
            <a:r>
              <a:rPr lang="en-US" altLang="zh-CN" baseline="0" dirty="0" smtClean="0"/>
              <a:t>, </a:t>
            </a:r>
            <a:r>
              <a:rPr lang="en-US" altLang="zh-CN" baseline="0" dirty="0" err="1" smtClean="0"/>
              <a:t>thông</a:t>
            </a:r>
            <a:r>
              <a:rPr lang="en-US" altLang="zh-CN" baseline="0" dirty="0" smtClean="0"/>
              <a:t> tin </a:t>
            </a:r>
            <a:r>
              <a:rPr lang="en-US" altLang="zh-CN" baseline="0" dirty="0" err="1" smtClean="0"/>
              <a:t>cản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áo</a:t>
            </a:r>
            <a:r>
              <a:rPr lang="en-US" altLang="zh-CN" baseline="0" dirty="0" smtClean="0"/>
              <a:t> (</a:t>
            </a:r>
            <a:r>
              <a:rPr lang="en-US" altLang="zh-CN" baseline="0" dirty="0" err="1" smtClean="0"/>
              <a:t>Chạ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quá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ố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ộ</a:t>
            </a:r>
            <a:r>
              <a:rPr lang="en-US" altLang="zh-CN" baseline="0" dirty="0" smtClean="0"/>
              <a:t>, </a:t>
            </a:r>
            <a:r>
              <a:rPr lang="en-US" altLang="zh-CN" baseline="0" dirty="0" err="1" smtClean="0"/>
              <a:t>quá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ải</a:t>
            </a:r>
            <a:r>
              <a:rPr lang="en-US" altLang="zh-CN" baseline="0" dirty="0" smtClean="0"/>
              <a:t>, </a:t>
            </a:r>
            <a:r>
              <a:rPr lang="en-US" altLang="zh-CN" baseline="0" dirty="0" err="1" smtClean="0"/>
              <a:t>tố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ộ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ậm</a:t>
            </a:r>
            <a:r>
              <a:rPr lang="en-US" altLang="zh-CN" baseline="0" dirty="0" smtClean="0"/>
              <a:t> …)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F1C1BF-8ACB-4966-8A69-58F5FB4102C1}" type="slidenum">
              <a:rPr lang="zh-CN" altLang="en-US" smtClean="0">
                <a:solidFill>
                  <a:prstClr val="black"/>
                </a:solidFill>
              </a:rPr>
              <a:pPr/>
              <a:t>15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265791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217433"/>
            <a:r>
              <a:rPr lang="en-US" altLang="zh-CN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16</a:t>
            </a:r>
            <a:r>
              <a:rPr lang="zh-CN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、</a:t>
            </a:r>
            <a:r>
              <a:rPr lang="en-US" altLang="zh-CN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Khi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phương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tiện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phanh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khẩn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cấp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,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mất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thăng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bằng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hay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xẩy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ra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va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chạm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… Chip G-sensor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được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tích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hợp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trong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đầu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thu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di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động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DVR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của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chúng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tôi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sẽ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chuyển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cảnh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báo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về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nền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tảng</a:t>
            </a:r>
            <a:r>
              <a:rPr lang="en-US" altLang="zh-CN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</a:rPr>
              <a:t>.</a:t>
            </a:r>
            <a:endParaRPr lang="en-US" altLang="zh-CN" sz="1200" dirty="0" smtClean="0">
              <a:solidFill>
                <a:schemeClr val="tx1">
                  <a:lumMod val="65000"/>
                  <a:lumOff val="3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F1C1BF-8ACB-4966-8A69-58F5FB4102C1}" type="slidenum">
              <a:rPr lang="zh-CN" altLang="en-US" smtClean="0">
                <a:solidFill>
                  <a:prstClr val="black"/>
                </a:solidFill>
              </a:rPr>
              <a:pPr/>
              <a:t>16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906709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22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17</a:t>
            </a:r>
            <a:r>
              <a:rPr lang="zh-CN" altLang="en-US" sz="1200" b="1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、</a:t>
            </a:r>
            <a:r>
              <a:rPr lang="en-US" altLang="zh-CN" sz="1200" b="1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Hàng</a:t>
            </a:r>
            <a:r>
              <a:rPr lang="en-US" altLang="zh-CN" sz="1200" b="1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1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rào</a:t>
            </a:r>
            <a:r>
              <a:rPr lang="en-US" altLang="zh-CN" sz="1200" b="1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1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điện</a:t>
            </a:r>
            <a:r>
              <a:rPr lang="en-US" altLang="zh-CN" sz="1200" b="1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1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tử</a:t>
            </a:r>
            <a:r>
              <a:rPr lang="en-US" altLang="zh-CN" sz="1200" b="1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:</a:t>
            </a:r>
          </a:p>
          <a:p>
            <a:pPr marL="0" marR="0" indent="0" algn="l" defTabSz="9122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Khi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thiết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bị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chạy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ra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vào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khu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vực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của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hàng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rào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điện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tử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và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không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tuân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thủ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theo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các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thiết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lập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như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chạy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quá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tốc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độ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,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hệ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thống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sẽ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gửi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cảnh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200" b="0" baseline="0" dirty="0" err="1" smtClean="0">
                <a:solidFill>
                  <a:prstClr val="white"/>
                </a:solidFill>
                <a:latin typeface="Segoe UI Light" panose="020B0502040204020203" pitchFamily="34" charset="0"/>
              </a:rPr>
              <a:t>báo</a:t>
            </a:r>
            <a:r>
              <a:rPr lang="en-US" altLang="zh-CN" sz="1200" b="0" baseline="0" dirty="0" smtClean="0">
                <a:solidFill>
                  <a:prstClr val="white"/>
                </a:solidFill>
                <a:latin typeface="Segoe UI Light" panose="020B0502040204020203" pitchFamily="34" charset="0"/>
              </a:rPr>
              <a:t>.</a:t>
            </a:r>
            <a:endParaRPr lang="en-US" altLang="zh-CN" sz="1200" b="0" dirty="0" smtClean="0">
              <a:solidFill>
                <a:prstClr val="white"/>
              </a:solidFill>
              <a:latin typeface="Segoe UI Light" panose="020B0502040204020203" pitchFamily="34" charset="0"/>
            </a:endParaRPr>
          </a:p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F1C1BF-8ACB-4966-8A69-58F5FB4102C1}" type="slidenum">
              <a:rPr lang="zh-CN" altLang="en-US" smtClean="0">
                <a:solidFill>
                  <a:prstClr val="black"/>
                </a:solidFill>
              </a:rPr>
              <a:pPr/>
              <a:t>17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3712604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8</a:t>
            </a:r>
            <a:r>
              <a:rPr lang="zh-CN" altLang="en-US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、</a:t>
            </a:r>
            <a:r>
              <a:rPr lang="en-US" altLang="zh-CN" b="1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áo</a:t>
            </a:r>
            <a:r>
              <a:rPr lang="en-US" altLang="zh-CN" b="1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1" baseline="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áo</a:t>
            </a:r>
            <a:r>
              <a:rPr lang="en-US" altLang="zh-CN" b="1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0" baseline="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ức</a:t>
            </a:r>
            <a:r>
              <a:rPr lang="en-US" altLang="zh-CN" b="0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0" baseline="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ăng</a:t>
            </a:r>
            <a:r>
              <a:rPr lang="en-US" altLang="zh-CN" b="0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0" baseline="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ày</a:t>
            </a:r>
            <a:r>
              <a:rPr lang="en-US" altLang="zh-CN" b="0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0" baseline="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altLang="zh-CN" b="0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0" baseline="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ửi</a:t>
            </a:r>
            <a:r>
              <a:rPr lang="en-US" altLang="zh-CN" b="0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0" baseline="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altLang="zh-CN" b="0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0" baseline="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altLang="zh-CN" b="0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in chi </a:t>
            </a:r>
            <a:r>
              <a:rPr lang="en-US" altLang="zh-CN" b="0" baseline="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iết</a:t>
            </a:r>
            <a:r>
              <a:rPr lang="en-US" altLang="zh-CN" b="0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0" baseline="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hư</a:t>
            </a:r>
            <a:r>
              <a:rPr lang="en-US" altLang="zh-CN" b="0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0" baseline="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ình</a:t>
            </a:r>
            <a:r>
              <a:rPr lang="en-US" altLang="zh-CN" b="0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0" baseline="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ạng</a:t>
            </a:r>
            <a:r>
              <a:rPr lang="en-US" altLang="zh-CN" b="0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0" baseline="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iết</a:t>
            </a:r>
            <a:r>
              <a:rPr lang="en-US" altLang="zh-CN" b="0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0" baseline="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ị</a:t>
            </a:r>
            <a:r>
              <a:rPr lang="en-US" altLang="zh-CN" b="0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altLang="zh-CN" b="0" baseline="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áo</a:t>
            </a:r>
            <a:r>
              <a:rPr lang="en-US" altLang="zh-CN" b="0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0" baseline="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ộng</a:t>
            </a:r>
            <a:r>
              <a:rPr lang="en-US" altLang="zh-CN" b="0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altLang="zh-CN" b="0" baseline="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ình</a:t>
            </a:r>
            <a:r>
              <a:rPr lang="en-US" altLang="zh-CN" b="0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0" baseline="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ạng</a:t>
            </a:r>
            <a:r>
              <a:rPr lang="en-US" altLang="zh-CN" b="0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0" baseline="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ương</a:t>
            </a:r>
            <a:r>
              <a:rPr lang="en-US" altLang="zh-CN" b="0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0" baseline="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iện</a:t>
            </a:r>
            <a:r>
              <a:rPr lang="en-US" altLang="zh-CN" b="0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altLang="zh-CN" b="0" dirty="0" smtClean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FB01B1-4166-4A5E-8669-02EA900AF03E}" type="slidenum">
              <a:rPr lang="zh-CN" altLang="en-US" smtClean="0">
                <a:solidFill>
                  <a:prstClr val="black"/>
                </a:solidFill>
              </a:rPr>
              <a:pPr/>
              <a:t>1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0760911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22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smtClean="0"/>
              <a:t> 19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Phầ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mềm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sử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ụ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ộ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ủa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ươ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íc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ớ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iề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ị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kh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au</a:t>
            </a:r>
            <a:r>
              <a:rPr lang="en-US" altLang="zh-CN" baseline="0" dirty="0" smtClean="0"/>
              <a:t>. </a:t>
            </a:r>
            <a:r>
              <a:rPr lang="en-US" altLang="zh-CN" baseline="0" dirty="0" err="1" smtClean="0"/>
              <a:t>Thông</a:t>
            </a:r>
            <a:r>
              <a:rPr lang="en-US" altLang="zh-CN" baseline="0" dirty="0" smtClean="0"/>
              <a:t> qua </a:t>
            </a:r>
            <a:r>
              <a:rPr lang="en-US" altLang="zh-CN" baseline="0" dirty="0" err="1" smtClean="0"/>
              <a:t>phầ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mềm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à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khác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à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ó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ể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qua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sá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ấ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ả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phươ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iện</a:t>
            </a:r>
            <a:r>
              <a:rPr lang="en-US" altLang="zh-CN" baseline="0" dirty="0" smtClean="0"/>
              <a:t> ở </a:t>
            </a:r>
            <a:r>
              <a:rPr lang="en-US" altLang="zh-CN" baseline="0" dirty="0" err="1" smtClean="0"/>
              <a:t>mọ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ơi</a:t>
            </a:r>
            <a:r>
              <a:rPr lang="en-US" altLang="zh-CN" baseline="0" dirty="0" smtClean="0"/>
              <a:t>. </a:t>
            </a:r>
            <a:r>
              <a:rPr lang="en-US" altLang="zh-CN" baseline="0" dirty="0" err="1" smtClean="0"/>
              <a:t>Đâ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ỉ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à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mộ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ro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ữ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ín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ă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mà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u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ấp</a:t>
            </a:r>
            <a:r>
              <a:rPr lang="en-US" altLang="zh-CN" baseline="0" dirty="0" smtClean="0"/>
              <a:t>. </a:t>
            </a:r>
            <a:r>
              <a:rPr lang="en-US" altLang="zh-CN" baseline="0" dirty="0" err="1" smtClean="0"/>
              <a:t>Xi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ã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xem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mộ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à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ự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á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àn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ô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ủa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.</a:t>
            </a:r>
            <a:endParaRPr lang="en-US" altLang="zh-CN" dirty="0" smtClean="0"/>
          </a:p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F1C1BF-8ACB-4966-8A69-58F5FB4102C1}" type="slidenum">
              <a:rPr lang="zh-CN" altLang="en-US" smtClean="0">
                <a:solidFill>
                  <a:prstClr val="black"/>
                </a:solidFill>
              </a:rPr>
              <a:pPr/>
              <a:t>19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737045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22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2</a:t>
            </a:r>
            <a:r>
              <a:rPr lang="zh-CN" altLang="en-US" baseline="0" dirty="0" smtClean="0">
                <a:latin typeface="Tahoma" pitchFamily="34" charset="0"/>
                <a:cs typeface="Tahoma" pitchFamily="34" charset="0"/>
              </a:rPr>
              <a:t>、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Ô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ô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là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phương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iện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giao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hông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chính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của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chúng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ôi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.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Chúng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ôi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luôn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gặp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phải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các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vấn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đề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về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ội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phạm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, tai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nạn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giao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hông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ầm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nhìn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hạn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chế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khi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xe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cảnh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sát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uần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ra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và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nhiều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vấn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đề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baseline="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khác</a:t>
            </a:r>
            <a:r>
              <a:rPr lang="en-US" altLang="zh-CN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948D32-BA77-46DE-9ACF-A9CBF69D95D8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15056565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dirty="0" err="1" smtClean="0"/>
              <a:t>Đâ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à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mộ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ự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á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ủa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ại</a:t>
            </a:r>
            <a:r>
              <a:rPr lang="en-US" altLang="zh-CN" baseline="0" dirty="0" smtClean="0"/>
              <a:t> Mexico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FB01B1-4166-4A5E-8669-02EA900AF03E}" type="slidenum">
              <a:rPr lang="zh-CN" altLang="en-US" smtClean="0">
                <a:solidFill>
                  <a:prstClr val="black"/>
                </a:solidFill>
              </a:rPr>
              <a:pPr/>
              <a:t>20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7585214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err="1" smtClean="0">
                <a:latin typeface="Arial" pitchFamily="34" charset="0"/>
              </a:rPr>
              <a:t>Hiện</a:t>
            </a:r>
            <a:r>
              <a:rPr lang="en-US" altLang="zh-CN" baseline="0" dirty="0" smtClean="0">
                <a:latin typeface="Arial" pitchFamily="34" charset="0"/>
              </a:rPr>
              <a:t> </a:t>
            </a:r>
            <a:r>
              <a:rPr lang="en-US" altLang="zh-CN" baseline="0" dirty="0" err="1" smtClean="0">
                <a:latin typeface="Arial" pitchFamily="34" charset="0"/>
              </a:rPr>
              <a:t>chúng</a:t>
            </a:r>
            <a:r>
              <a:rPr lang="en-US" altLang="zh-CN" baseline="0" dirty="0" smtClean="0">
                <a:latin typeface="Arial" pitchFamily="34" charset="0"/>
              </a:rPr>
              <a:t> </a:t>
            </a:r>
            <a:r>
              <a:rPr lang="en-US" altLang="zh-CN" baseline="0" dirty="0" err="1" smtClean="0">
                <a:latin typeface="Arial" pitchFamily="34" charset="0"/>
              </a:rPr>
              <a:t>tôi</a:t>
            </a:r>
            <a:r>
              <a:rPr lang="en-US" altLang="zh-CN" baseline="0" dirty="0" smtClean="0">
                <a:latin typeface="Arial" pitchFamily="34" charset="0"/>
              </a:rPr>
              <a:t> </a:t>
            </a:r>
            <a:r>
              <a:rPr lang="en-US" altLang="zh-CN" baseline="0" dirty="0" err="1" smtClean="0">
                <a:latin typeface="Arial" pitchFamily="34" charset="0"/>
              </a:rPr>
              <a:t>đã</a:t>
            </a:r>
            <a:r>
              <a:rPr lang="en-US" altLang="zh-CN" baseline="0" dirty="0" smtClean="0">
                <a:latin typeface="Arial" pitchFamily="34" charset="0"/>
              </a:rPr>
              <a:t> </a:t>
            </a:r>
            <a:r>
              <a:rPr lang="en-US" altLang="zh-CN" baseline="0" dirty="0" err="1" smtClean="0">
                <a:latin typeface="Arial" pitchFamily="34" charset="0"/>
              </a:rPr>
              <a:t>hoàn</a:t>
            </a:r>
            <a:r>
              <a:rPr lang="en-US" altLang="zh-CN" baseline="0" dirty="0" smtClean="0">
                <a:latin typeface="Arial" pitchFamily="34" charset="0"/>
              </a:rPr>
              <a:t> </a:t>
            </a:r>
            <a:r>
              <a:rPr lang="en-US" altLang="zh-CN" baseline="0" dirty="0" err="1" smtClean="0">
                <a:latin typeface="Arial" pitchFamily="34" charset="0"/>
              </a:rPr>
              <a:t>thành</a:t>
            </a:r>
            <a:r>
              <a:rPr lang="en-US" altLang="zh-CN" baseline="0" dirty="0" smtClean="0">
                <a:latin typeface="Arial" pitchFamily="34" charset="0"/>
              </a:rPr>
              <a:t> </a:t>
            </a:r>
            <a:r>
              <a:rPr lang="en-US" altLang="zh-CN" baseline="0" dirty="0" err="1" smtClean="0">
                <a:latin typeface="Arial" pitchFamily="34" charset="0"/>
              </a:rPr>
              <a:t>giai</a:t>
            </a:r>
            <a:r>
              <a:rPr lang="en-US" altLang="zh-CN" baseline="0" dirty="0" smtClean="0">
                <a:latin typeface="Arial" pitchFamily="34" charset="0"/>
              </a:rPr>
              <a:t> </a:t>
            </a:r>
            <a:r>
              <a:rPr lang="en-US" altLang="zh-CN" baseline="0" dirty="0" err="1" smtClean="0">
                <a:latin typeface="Arial" pitchFamily="34" charset="0"/>
              </a:rPr>
              <a:t>đoạn</a:t>
            </a:r>
            <a:r>
              <a:rPr lang="en-US" altLang="zh-CN" baseline="0" dirty="0" smtClean="0">
                <a:latin typeface="Arial" pitchFamily="34" charset="0"/>
              </a:rPr>
              <a:t> </a:t>
            </a:r>
            <a:r>
              <a:rPr lang="en-US" altLang="zh-CN" baseline="0" dirty="0" err="1" smtClean="0">
                <a:latin typeface="Arial" pitchFamily="34" charset="0"/>
              </a:rPr>
              <a:t>đầu</a:t>
            </a:r>
            <a:r>
              <a:rPr lang="en-US" altLang="zh-CN" baseline="0" dirty="0" smtClean="0">
                <a:latin typeface="Arial" pitchFamily="34" charset="0"/>
              </a:rPr>
              <a:t> </a:t>
            </a:r>
            <a:r>
              <a:rPr lang="en-US" altLang="zh-CN" baseline="0" dirty="0" err="1" smtClean="0">
                <a:latin typeface="Arial" pitchFamily="34" charset="0"/>
              </a:rPr>
              <a:t>tiên</a:t>
            </a:r>
            <a:r>
              <a:rPr lang="en-US" altLang="zh-CN" baseline="0" dirty="0" smtClean="0">
                <a:latin typeface="Arial" pitchFamily="34" charset="0"/>
              </a:rPr>
              <a:t> </a:t>
            </a:r>
            <a:r>
              <a:rPr lang="en-US" altLang="zh-CN" baseline="0" dirty="0" err="1" smtClean="0">
                <a:latin typeface="Arial" pitchFamily="34" charset="0"/>
              </a:rPr>
              <a:t>với</a:t>
            </a:r>
            <a:r>
              <a:rPr lang="en-US" altLang="zh-CN" baseline="0" dirty="0" smtClean="0">
                <a:latin typeface="Arial" pitchFamily="34" charset="0"/>
              </a:rPr>
              <a:t> </a:t>
            </a:r>
            <a:r>
              <a:rPr lang="en-US" altLang="zh-CN" baseline="0" dirty="0" err="1" smtClean="0">
                <a:latin typeface="Arial" pitchFamily="34" charset="0"/>
              </a:rPr>
              <a:t>hơn</a:t>
            </a:r>
            <a:r>
              <a:rPr lang="en-US" altLang="zh-CN" baseline="0" dirty="0" smtClean="0">
                <a:latin typeface="Arial" pitchFamily="34" charset="0"/>
              </a:rPr>
              <a:t> 500 </a:t>
            </a:r>
            <a:r>
              <a:rPr lang="en-US" altLang="zh-CN" baseline="0" dirty="0" err="1" smtClean="0">
                <a:latin typeface="Arial" pitchFamily="34" charset="0"/>
              </a:rPr>
              <a:t>thiết</a:t>
            </a:r>
            <a:r>
              <a:rPr lang="en-US" altLang="zh-CN" baseline="0" dirty="0" smtClean="0">
                <a:latin typeface="Arial" pitchFamily="34" charset="0"/>
              </a:rPr>
              <a:t> </a:t>
            </a:r>
            <a:r>
              <a:rPr lang="en-US" altLang="zh-CN" baseline="0" dirty="0" err="1" smtClean="0">
                <a:latin typeface="Arial" pitchFamily="34" charset="0"/>
              </a:rPr>
              <a:t>bị</a:t>
            </a:r>
            <a:r>
              <a:rPr lang="en-US" altLang="zh-CN" baseline="0" dirty="0" smtClean="0">
                <a:latin typeface="Arial" pitchFamily="34" charset="0"/>
              </a:rPr>
              <a:t>.</a:t>
            </a:r>
            <a:endParaRPr lang="en-US" altLang="zh-CN" dirty="0" smtClean="0">
              <a:latin typeface="Arial" pitchFamily="34" charset="0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FB01B1-4166-4A5E-8669-02EA900AF03E}" type="slidenum">
              <a:rPr lang="zh-CN" altLang="en-US" smtClean="0">
                <a:solidFill>
                  <a:prstClr val="black"/>
                </a:solidFill>
              </a:rPr>
              <a:pPr/>
              <a:t>2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2889900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22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u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ấp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ệ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ố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ếm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ự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ộng</a:t>
            </a:r>
            <a:r>
              <a:rPr lang="en-US" altLang="zh-CN" baseline="0" dirty="0" smtClean="0"/>
              <a:t>, </a:t>
            </a:r>
            <a:r>
              <a:rPr lang="en-US" altLang="zh-CN" baseline="0" dirty="0" err="1" smtClean="0"/>
              <a:t>thuậ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iệ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iệ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kiểm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ra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an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sách</a:t>
            </a:r>
            <a:r>
              <a:rPr lang="en-US" altLang="zh-CN" baseline="0" dirty="0" smtClean="0"/>
              <a:t>.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FB01B1-4166-4A5E-8669-02EA900AF03E}" type="slidenum">
              <a:rPr lang="zh-CN" altLang="en-US" smtClean="0">
                <a:solidFill>
                  <a:prstClr val="black"/>
                </a:solidFill>
              </a:rPr>
              <a:pPr/>
              <a:t>2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215314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23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Giả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pháp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ủa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ma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ạ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ợ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uận</a:t>
            </a:r>
            <a:r>
              <a:rPr lang="en-US" altLang="zh-CN" baseline="0" dirty="0" smtClean="0"/>
              <a:t> to </a:t>
            </a:r>
            <a:r>
              <a:rPr lang="en-US" altLang="zh-CN" baseline="0" dirty="0" err="1" smtClean="0"/>
              <a:t>lớ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ín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phủ</a:t>
            </a:r>
            <a:r>
              <a:rPr lang="en-US" altLang="zh-CN" baseline="0" dirty="0" smtClean="0"/>
              <a:t>.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ã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giảm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ể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á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kể</a:t>
            </a:r>
            <a:r>
              <a:rPr lang="en-US" altLang="zh-CN" baseline="0" dirty="0" smtClean="0"/>
              <a:t> chi </a:t>
            </a:r>
            <a:r>
              <a:rPr lang="en-US" altLang="zh-CN" baseline="0" dirty="0" err="1" smtClean="0"/>
              <a:t>phí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â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ực</a:t>
            </a:r>
            <a:r>
              <a:rPr lang="en-US" altLang="zh-CN" baseline="0" dirty="0" smtClean="0"/>
              <a:t>.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948D32-BA77-46DE-9ACF-A9CBF69D95D8}" type="slidenum">
              <a:rPr lang="zh-CN" altLang="en-US" smtClean="0"/>
              <a:pPr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136144862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24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Như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quý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ị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ấy</a:t>
            </a:r>
            <a:r>
              <a:rPr lang="en-US" altLang="zh-CN" baseline="0" dirty="0" smtClean="0"/>
              <a:t>,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ỉ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ầ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mộ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à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â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iê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ể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ảm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ả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oà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ộ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phươ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iệ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ều</a:t>
            </a:r>
            <a:r>
              <a:rPr lang="en-US" altLang="zh-CN" baseline="0" dirty="0" smtClean="0"/>
              <a:t> an </a:t>
            </a:r>
            <a:r>
              <a:rPr lang="en-US" altLang="zh-CN" baseline="0" dirty="0" err="1" smtClean="0"/>
              <a:t>toàn</a:t>
            </a:r>
            <a:r>
              <a:rPr lang="en-US" altLang="zh-CN" baseline="0" dirty="0" smtClean="0"/>
              <a:t>.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FB01B1-4166-4A5E-8669-02EA900AF03E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410394633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948D32-BA77-46DE-9ACF-A9CBF69D95D8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1852094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baseline="0" dirty="0" smtClean="0"/>
              <a:t>3</a:t>
            </a:r>
            <a:r>
              <a:rPr lang="zh-CN" altLang="en-US" baseline="0" dirty="0" smtClean="0"/>
              <a:t>、</a:t>
            </a:r>
            <a:r>
              <a:rPr lang="en-US" altLang="zh-CN" baseline="0" dirty="0" err="1" smtClean="0"/>
              <a:t>Xe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uý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à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mộ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ro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ữ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phươ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iệ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ặ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rư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ấ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mà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a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sử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ụ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à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gày</a:t>
            </a:r>
            <a:r>
              <a:rPr lang="en-US" altLang="zh-CN" baseline="0" dirty="0" smtClean="0"/>
              <a:t>.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u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ấp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giả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pháp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ữ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ấ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ề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ày</a:t>
            </a:r>
            <a:r>
              <a:rPr lang="en-US" altLang="zh-CN" baseline="0" dirty="0" smtClean="0"/>
              <a:t>. </a:t>
            </a:r>
            <a:r>
              <a:rPr lang="en-US" altLang="zh-CN" baseline="0" dirty="0" err="1" smtClean="0"/>
              <a:t>Đầ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gh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ậ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ượ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í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iệ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kh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a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ừ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ệ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ống</a:t>
            </a:r>
            <a:r>
              <a:rPr lang="en-US" altLang="zh-CN" baseline="0" dirty="0" smtClean="0"/>
              <a:t> camera, </a:t>
            </a:r>
            <a:r>
              <a:rPr lang="en-US" altLang="zh-CN" baseline="0" dirty="0" err="1" smtClean="0"/>
              <a:t>cảm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iến</a:t>
            </a:r>
            <a:r>
              <a:rPr lang="en-US" altLang="zh-CN" baseline="0" dirty="0" smtClean="0"/>
              <a:t> GPS </a:t>
            </a:r>
            <a:r>
              <a:rPr lang="en-US" altLang="zh-CN" baseline="0" dirty="0" err="1" smtClean="0"/>
              <a:t>và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mộ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ổ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á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ộ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kh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kh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ư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rữ</a:t>
            </a:r>
            <a:r>
              <a:rPr lang="en-US" altLang="zh-CN" baseline="0" dirty="0" smtClean="0"/>
              <a:t>. </a:t>
            </a:r>
            <a:r>
              <a:rPr lang="en-US" altLang="zh-CN" baseline="0" dirty="0" err="1" smtClean="0"/>
              <a:t>Cù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ú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ó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ữ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í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iệ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à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sẽ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ượ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uyể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ế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ru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âm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iề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khiể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ủa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ằ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ị</a:t>
            </a:r>
            <a:r>
              <a:rPr lang="en-US" altLang="zh-CN" baseline="0" dirty="0" smtClean="0"/>
              <a:t> 3G/4G. </a:t>
            </a:r>
            <a:r>
              <a:rPr lang="en-US" altLang="zh-CN" baseline="0" dirty="0" err="1" smtClean="0"/>
              <a:t>Nề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ảng</a:t>
            </a:r>
            <a:r>
              <a:rPr lang="en-US" altLang="zh-CN" baseline="0" dirty="0" smtClean="0"/>
              <a:t> DSS </a:t>
            </a:r>
            <a:r>
              <a:rPr lang="en-US" altLang="zh-CN" baseline="0" dirty="0" err="1" smtClean="0"/>
              <a:t>của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ó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ể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íc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ợp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ớ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ấ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ả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ị</a:t>
            </a:r>
            <a:r>
              <a:rPr lang="en-US" altLang="zh-CN" baseline="0" dirty="0" smtClean="0"/>
              <a:t> do </a:t>
            </a:r>
            <a:r>
              <a:rPr lang="en-US" altLang="zh-CN" baseline="0" dirty="0" err="1" smtClean="0"/>
              <a:t>đó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ó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ể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ậ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àn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mộ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ễ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àng</a:t>
            </a:r>
            <a:r>
              <a:rPr lang="en-US" altLang="zh-CN" baseline="0" dirty="0" smtClean="0"/>
              <a:t>.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948D32-BA77-46DE-9ACF-A9CBF69D95D8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16836424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22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、</a:t>
            </a:r>
            <a:r>
              <a:rPr lang="en-US" altLang="zh-CN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ên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ây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à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ác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ị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í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ám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át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ọ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ếu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ú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ôi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uôn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ắp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ặt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4 camera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ên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ột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e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ýt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0" marR="0" indent="0" algn="l" defTabSz="9122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ô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ườ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ú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ôi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ó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 camera ở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u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ực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an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át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ước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ặt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ược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ử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ụ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ể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an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át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iều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iện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ườ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0" marR="0" indent="0" algn="l" defTabSz="9122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mera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ứ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ược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ử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ụ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ể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an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át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ái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e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ành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ách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ên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e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ết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ị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ày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úp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hi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ại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ô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in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ủa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ài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ế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ách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à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0" marR="0" indent="0" algn="l" defTabSz="9122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mera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ứ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3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ược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ử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ụ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ể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an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át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ối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i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ên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e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úp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o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õi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ểu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ện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ủa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ành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ách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0" marR="0" indent="0" algn="l" defTabSz="9122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mera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ứ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ư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ược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ử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ụ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ể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o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õi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ành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ách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uố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e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ằ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ửa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u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ới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ột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àn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ình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ộ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úp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ách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à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uố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e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àn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ơn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0" marR="0" indent="0" algn="l" defTabSz="9122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ất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ả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ideo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ủa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ác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mera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ược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hi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ại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o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ổ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ứ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marL="0" marR="0" indent="0" algn="l" defTabSz="9122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ôi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ườ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ên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ác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ươ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ện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ận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ải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ườ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ô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ý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ưở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ác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mera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ô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ườ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Do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ó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ác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ết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ị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ủa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ú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ôi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ược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ết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ế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ể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ích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hi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ới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ôi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ườ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óng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ó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ộ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ung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ắc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o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F1C1BF-8ACB-4966-8A69-58F5FB4102C1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0959288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5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ị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ư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rữ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ủa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khô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ỉ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ó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ể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iê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k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ớ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ị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kh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ư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ầ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ọ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ẻ</a:t>
            </a:r>
            <a:r>
              <a:rPr lang="en-US" altLang="zh-CN" baseline="0" dirty="0" smtClean="0"/>
              <a:t>, </a:t>
            </a:r>
            <a:r>
              <a:rPr lang="en-US" altLang="zh-CN" baseline="0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ị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phá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iệ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khí</a:t>
            </a:r>
            <a:r>
              <a:rPr lang="en-US" altLang="zh-CN" baseline="0" dirty="0" smtClean="0"/>
              <a:t> gas, </a:t>
            </a:r>
            <a:r>
              <a:rPr lang="en-US" altLang="zh-CN" baseline="0" dirty="0" err="1" smtClean="0"/>
              <a:t>má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á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é</a:t>
            </a:r>
            <a:r>
              <a:rPr lang="en-US" altLang="zh-CN" baseline="0" dirty="0" smtClean="0"/>
              <a:t>, </a:t>
            </a:r>
            <a:r>
              <a:rPr lang="en-US" altLang="zh-CN" baseline="0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ị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o</a:t>
            </a:r>
            <a:r>
              <a:rPr lang="en-US" altLang="zh-CN" baseline="0" dirty="0" smtClean="0"/>
              <a:t> LED, </a:t>
            </a:r>
            <a:r>
              <a:rPr lang="en-US" altLang="zh-CN" baseline="0" dirty="0" err="1" smtClean="0"/>
              <a:t>mọ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gườ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ó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ể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giúp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ậ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àn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à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gày</a:t>
            </a:r>
            <a:r>
              <a:rPr lang="en-US" altLang="zh-CN" baseline="0" dirty="0" smtClean="0"/>
              <a:t>.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948D32-BA77-46DE-9ACF-A9CBF69D95D8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7371705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baseline="0" dirty="0" smtClean="0"/>
              <a:t>6</a:t>
            </a:r>
            <a:r>
              <a:rPr lang="zh-CN" altLang="en-US" baseline="0" dirty="0" smtClean="0"/>
              <a:t>、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xe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ản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sá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ũ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iệ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ũ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a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ó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ầ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ấp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ớ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ệ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ố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giám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sát</a:t>
            </a:r>
            <a:r>
              <a:rPr lang="en-US" altLang="zh-CN" baseline="0" dirty="0" smtClean="0"/>
              <a:t>. </a:t>
            </a:r>
            <a:r>
              <a:rPr lang="en-US" altLang="zh-CN" baseline="0" dirty="0" err="1" smtClean="0"/>
              <a:t>Kh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ớ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xe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uýt</a:t>
            </a:r>
            <a:r>
              <a:rPr lang="en-US" altLang="zh-CN" baseline="0" dirty="0" smtClean="0"/>
              <a:t>, </a:t>
            </a:r>
            <a:r>
              <a:rPr lang="en-US" altLang="zh-CN" baseline="0" dirty="0" err="1" smtClean="0"/>
              <a:t>hệ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ố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e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õ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rê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xe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ản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sá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ó</a:t>
            </a:r>
            <a:r>
              <a:rPr lang="en-US" altLang="zh-CN" baseline="0" dirty="0" smtClean="0"/>
              <a:t> 1 camera PTZ </a:t>
            </a:r>
            <a:r>
              <a:rPr lang="en-US" altLang="zh-CN" baseline="0" dirty="0" err="1" smtClean="0"/>
              <a:t>trê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ó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xe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ầm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ì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rộ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à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xa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ơn</a:t>
            </a:r>
            <a:r>
              <a:rPr lang="en-US" altLang="zh-CN" baseline="0" dirty="0" smtClean="0"/>
              <a:t>. </a:t>
            </a:r>
            <a:r>
              <a:rPr lang="en-US" altLang="zh-CN" baseline="0" dirty="0" err="1" smtClean="0"/>
              <a:t>Hệ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ố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ũ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ó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ị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ầm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a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giúp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gh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ạ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ằ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ứ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kh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â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iê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ản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sá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a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ự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iệm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ụ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oặ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uầ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ra</a:t>
            </a:r>
            <a:r>
              <a:rPr lang="en-US" altLang="zh-CN" baseline="0" dirty="0" smtClean="0"/>
              <a:t>.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948D32-BA77-46DE-9ACF-A9CBF69D95D8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11630128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7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Trê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â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à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ìn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ản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ự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ế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kh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ắp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ặ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ị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à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mộ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sơ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ồ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k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ối</a:t>
            </a:r>
            <a:r>
              <a:rPr lang="en-US" altLang="zh-CN" baseline="0" dirty="0" smtClean="0"/>
              <a:t>. </a:t>
            </a:r>
            <a:r>
              <a:rPr lang="en-US" altLang="zh-CN" baseline="0" dirty="0" err="1" smtClean="0"/>
              <a:t>Vớ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mộ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ị</a:t>
            </a:r>
            <a:r>
              <a:rPr lang="en-US" altLang="zh-CN" baseline="0" dirty="0" smtClean="0"/>
              <a:t> microphone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a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ó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ể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iê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rự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iếp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ớ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ổ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à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giám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sát</a:t>
            </a:r>
            <a:r>
              <a:rPr lang="en-US" altLang="zh-CN" baseline="0" dirty="0" smtClean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948D32-BA77-46DE-9ACF-A9CBF69D95D8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24652214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8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Đâ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à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ị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ầm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ay</a:t>
            </a:r>
            <a:r>
              <a:rPr lang="en-US" altLang="zh-CN" baseline="0" dirty="0" smtClean="0"/>
              <a:t> MPT300 </a:t>
            </a:r>
            <a:r>
              <a:rPr lang="en-US" altLang="zh-CN" baseline="0" dirty="0" err="1" smtClean="0"/>
              <a:t>của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ô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ớ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hữ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ín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ă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iện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ụ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à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ấ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lượ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a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giúp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ô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iệ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ủa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ản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sá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ễ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à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ơn</a:t>
            </a:r>
            <a:r>
              <a:rPr lang="en-US" altLang="zh-CN" baseline="0" dirty="0" smtClean="0"/>
              <a:t>.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13F384-CC82-409F-BFF8-CBB70F2BDFF0}" type="slidenum">
              <a:rPr lang="zh-CN" altLang="en-US" smtClean="0">
                <a:solidFill>
                  <a:prstClr val="black"/>
                </a:solidFill>
              </a:rPr>
              <a:pPr/>
              <a:t>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404138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9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Chú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a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ũ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ó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ể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sử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dụ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ệ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ố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hiết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bị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à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o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àu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ỏa</a:t>
            </a:r>
            <a:r>
              <a:rPr lang="en-US" altLang="zh-CN" baseline="0" dirty="0" smtClean="0"/>
              <a:t>, </a:t>
            </a:r>
            <a:r>
              <a:rPr lang="en-US" altLang="zh-CN" baseline="0" dirty="0" err="1" smtClean="0"/>
              <a:t>xe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ở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óa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ất</a:t>
            </a:r>
            <a:r>
              <a:rPr lang="en-US" altLang="zh-CN" baseline="0" dirty="0" smtClean="0"/>
              <a:t>, </a:t>
            </a:r>
            <a:r>
              <a:rPr lang="en-US" altLang="zh-CN" baseline="0" dirty="0" err="1" smtClean="0"/>
              <a:t>xe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hở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à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óa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guy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hiểm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để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với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các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ính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nă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ương</a:t>
            </a:r>
            <a:r>
              <a:rPr lang="en-US" altLang="zh-CN" baseline="0" dirty="0" smtClean="0"/>
              <a:t> </a:t>
            </a:r>
            <a:r>
              <a:rPr lang="en-US" altLang="zh-CN" baseline="0" dirty="0" err="1" smtClean="0"/>
              <a:t>tự</a:t>
            </a:r>
            <a:r>
              <a:rPr lang="en-US" altLang="zh-CN" baseline="0" dirty="0" smtClean="0"/>
              <a:t>.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948D32-BA77-46DE-9ACF-A9CBF69D95D8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27607893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7/1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6463" y="6356368"/>
            <a:ext cx="2844430" cy="365125"/>
          </a:xfrm>
          <a:prstGeom prst="rect">
            <a:avLst/>
          </a:prstGeom>
        </p:spPr>
        <p:txBody>
          <a:bodyPr lIns="91242" tIns="45618" rIns="91242" bIns="45618"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 userDrawn="1"/>
        </p:nvSpPr>
        <p:spPr>
          <a:xfrm>
            <a:off x="5" y="0"/>
            <a:ext cx="121904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25" tIns="60913" rIns="121825" bIns="60913" rtlCol="0" anchor="ctr"/>
          <a:lstStyle/>
          <a:p>
            <a:pPr algn="ctr" defTabSz="1218247"/>
            <a:endParaRPr lang="zh-CN" altLang="en-US" sz="2400">
              <a:solidFill>
                <a:prstClr val="white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327226" y="2802503"/>
            <a:ext cx="6767194" cy="914532"/>
          </a:xfrm>
        </p:spPr>
        <p:txBody>
          <a:bodyPr>
            <a:noAutofit/>
          </a:bodyPr>
          <a:lstStyle>
            <a:lvl1pPr algn="ctr">
              <a:defRPr kumimoji="0" lang="zh-CN" altLang="en-US" sz="4300" b="1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直接连接符 7"/>
          <p:cNvCxnSpPr/>
          <p:nvPr userDrawn="1"/>
        </p:nvCxnSpPr>
        <p:spPr>
          <a:xfrm>
            <a:off x="4938024" y="2372887"/>
            <a:ext cx="0" cy="1700324"/>
          </a:xfrm>
          <a:prstGeom prst="line">
            <a:avLst/>
          </a:prstGeom>
          <a:noFill/>
          <a:ln w="285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pic>
        <p:nvPicPr>
          <p:cNvPr id="9" name="Picture 2" descr="D:\PPT\个人制作\大华内训\让你的PPT会说话\母版设计\大华\LOGO-JP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83299" y="2792830"/>
            <a:ext cx="2773538" cy="89637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30579627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119566" y="478213"/>
            <a:ext cx="8447543" cy="83858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E60013"/>
              </a:buClr>
              <a:defRPr/>
            </a:lvl1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656835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8688500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5" y="0"/>
            <a:ext cx="121904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25" tIns="60913" rIns="121825" bIns="60913" rtlCol="0" anchor="ctr"/>
          <a:lstStyle/>
          <a:p>
            <a:pPr algn="ctr" defTabSz="1218247"/>
            <a:endParaRPr lang="zh-CN" altLang="en-US" sz="2400">
              <a:solidFill>
                <a:prstClr val="white"/>
              </a:solidFill>
            </a:endParaRPr>
          </a:p>
        </p:txBody>
      </p:sp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632833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标题和内容">
    <p:bg>
      <p:bgPr>
        <a:solidFill>
          <a:srgbClr val="1E3E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623309" y="6309332"/>
            <a:ext cx="284443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ED80DD-7748-489F-BF09-D2279964234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063" y="6356364"/>
            <a:ext cx="386029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6463" y="6356364"/>
            <a:ext cx="284443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3A98B2-3ED3-414E-8590-C97E1EC14218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7211869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EC2BC-36AB-4E1B-9BA6-C928A8E4F56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>
                <a:solidFill>
                  <a:prstClr val="black">
                    <a:tint val="75000"/>
                  </a:prstClr>
                </a:solidFill>
              </a:rPr>
              <a:t>Design by Nick</a:t>
            </a:r>
            <a:fld id="{F633731A-6AD5-46E1-9D66-78685EADC15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Rectangle 11"/>
          <p:cNvSpPr/>
          <p:nvPr userDrawn="1"/>
        </p:nvSpPr>
        <p:spPr bwMode="auto">
          <a:xfrm>
            <a:off x="2823833" y="2697500"/>
            <a:ext cx="9366593" cy="2194561"/>
          </a:xfrm>
          <a:prstGeom prst="rect">
            <a:avLst/>
          </a:prstGeom>
          <a:solidFill>
            <a:srgbClr val="92D050">
              <a:alpha val="46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702738" tIns="58559" rIns="117116" bIns="58559" numCol="1" rtlCol="0" anchor="ctr" anchorCtr="0" compatLnSpc="1">
            <a:prstTxWarp prst="textNoShape">
              <a:avLst/>
            </a:prstTxWarp>
          </a:bodyPr>
          <a:lstStyle/>
          <a:p>
            <a:pPr defTabSz="1170846" fontAlgn="base">
              <a:spcBef>
                <a:spcPct val="0"/>
              </a:spcBef>
              <a:spcAft>
                <a:spcPct val="0"/>
              </a:spcAft>
            </a:pPr>
            <a:endParaRPr lang="en-US" sz="8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メイリオ" pitchFamily="50" charset="-128"/>
              <a:ea typeface="メイリオ" pitchFamily="50" charset="-128"/>
            </a:endParaRPr>
          </a:p>
        </p:txBody>
      </p:sp>
      <p:grpSp>
        <p:nvGrpSpPr>
          <p:cNvPr id="18" name="Group 12"/>
          <p:cNvGrpSpPr/>
          <p:nvPr userDrawn="1"/>
        </p:nvGrpSpPr>
        <p:grpSpPr>
          <a:xfrm>
            <a:off x="0" y="2697490"/>
            <a:ext cx="2844430" cy="2194561"/>
            <a:chOff x="-1" y="2455231"/>
            <a:chExt cx="2253803" cy="2104837"/>
          </a:xfrm>
        </p:grpSpPr>
        <p:sp>
          <p:nvSpPr>
            <p:cNvPr id="19" name="Rectangle 16"/>
            <p:cNvSpPr/>
            <p:nvPr/>
          </p:nvSpPr>
          <p:spPr bwMode="auto">
            <a:xfrm>
              <a:off x="-1" y="2455231"/>
              <a:ext cx="2253803" cy="2104837"/>
            </a:xfrm>
            <a:prstGeom prst="rect">
              <a:avLst/>
            </a:prstGeom>
            <a:solidFill>
              <a:srgbClr val="92D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algn="ctr" defTabSz="117084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800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DSS7016-M</a:t>
              </a:r>
            </a:p>
          </p:txBody>
        </p:sp>
        <p:pic>
          <p:nvPicPr>
            <p:cNvPr id="20" name="Picture 17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550988" y="2847133"/>
              <a:ext cx="1140731" cy="11407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="" val="424597769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6" presetClass="entr" presetSubtype="42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1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xit" presetSubtype="0" fill="hold" grpId="1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7" grpId="1" animBg="1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EC2BC-36AB-4E1B-9BA6-C928A8E4F56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33731A-6AD5-46E1-9D66-78685EADC15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18367123"/>
      </p:ext>
    </p:extLst>
  </p:cSld>
  <p:clrMapOvr>
    <a:masterClrMapping/>
  </p:clrMapOvr>
  <p:transition spd="slow">
    <p:push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Tile"/>
          <p:cNvSpPr/>
          <p:nvPr userDrawn="1"/>
        </p:nvSpPr>
        <p:spPr bwMode="auto">
          <a:xfrm>
            <a:off x="4010553" y="3187145"/>
            <a:ext cx="7163734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" name="Arrow Bar"/>
          <p:cNvSpPr/>
          <p:nvPr userDrawn="1"/>
        </p:nvSpPr>
        <p:spPr bwMode="auto">
          <a:xfrm>
            <a:off x="4010553" y="1514475"/>
            <a:ext cx="7163734" cy="149961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27" name="Left Mask"/>
          <p:cNvSpPr/>
          <p:nvPr userDrawn="1"/>
        </p:nvSpPr>
        <p:spPr bwMode="auto">
          <a:xfrm>
            <a:off x="10" y="1514476"/>
            <a:ext cx="4010549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8" name="Circle Arrow"/>
          <p:cNvSpPr>
            <a:spLocks noEditPoints="1"/>
          </p:cNvSpPr>
          <p:nvPr userDrawn="1"/>
        </p:nvSpPr>
        <p:spPr bwMode="auto">
          <a:xfrm rot="5400000">
            <a:off x="9949600" y="1873011"/>
            <a:ext cx="841375" cy="84148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350" tIns="45677" rIns="91350" bIns="45677" numCol="1" anchor="t" anchorCtr="0" compatLnSpc="1">
            <a:prstTxWarp prst="textNoShape">
              <a:avLst/>
            </a:prstTxWarp>
          </a:bodyPr>
          <a:lstStyle/>
          <a:p>
            <a:pPr defTabSz="91343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9" name="TechEd Tile"/>
          <p:cNvSpPr/>
          <p:nvPr userDrawn="1"/>
        </p:nvSpPr>
        <p:spPr bwMode="auto">
          <a:xfrm>
            <a:off x="1022206" y="1514475"/>
            <a:ext cx="2825864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0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8530"/>
          <a:stretch/>
        </p:blipFill>
        <p:spPr bwMode="auto">
          <a:xfrm>
            <a:off x="1401500" y="1742495"/>
            <a:ext cx="2067275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31" name="Fuschia Tile"/>
          <p:cNvGrpSpPr/>
          <p:nvPr userDrawn="1"/>
        </p:nvGrpSpPr>
        <p:grpSpPr>
          <a:xfrm>
            <a:off x="1016652" y="3185267"/>
            <a:ext cx="1326053" cy="1325880"/>
            <a:chOff x="1071620" y="3044261"/>
            <a:chExt cx="1325880" cy="1325880"/>
          </a:xfrm>
        </p:grpSpPr>
        <p:sp>
          <p:nvSpPr>
            <p:cNvPr id="32" name="Rectangle 31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167"/>
              <a:endParaRPr lang="en-US" sz="23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/>
          </p:nvSpPr>
          <p:spPr bwMode="auto">
            <a:xfrm>
              <a:off x="1316254" y="3284926"/>
              <a:ext cx="836612" cy="841375"/>
            </a:xfrm>
            <a:custGeom>
              <a:avLst/>
              <a:gdLst>
                <a:gd name="T0" fmla="*/ 183 w 223"/>
                <a:gd name="T1" fmla="*/ 108 h 224"/>
                <a:gd name="T2" fmla="*/ 154 w 223"/>
                <a:gd name="T3" fmla="*/ 120 h 224"/>
                <a:gd name="T4" fmla="*/ 135 w 223"/>
                <a:gd name="T5" fmla="*/ 101 h 224"/>
                <a:gd name="T6" fmla="*/ 154 w 223"/>
                <a:gd name="T7" fmla="*/ 59 h 224"/>
                <a:gd name="T8" fmla="*/ 96 w 223"/>
                <a:gd name="T9" fmla="*/ 0 h 224"/>
                <a:gd name="T10" fmla="*/ 37 w 223"/>
                <a:gd name="T11" fmla="*/ 59 h 224"/>
                <a:gd name="T12" fmla="*/ 64 w 223"/>
                <a:gd name="T13" fmla="*/ 107 h 224"/>
                <a:gd name="T14" fmla="*/ 52 w 223"/>
                <a:gd name="T15" fmla="*/ 145 h 224"/>
                <a:gd name="T16" fmla="*/ 41 w 223"/>
                <a:gd name="T17" fmla="*/ 143 h 224"/>
                <a:gd name="T18" fmla="*/ 0 w 223"/>
                <a:gd name="T19" fmla="*/ 183 h 224"/>
                <a:gd name="T20" fmla="*/ 41 w 223"/>
                <a:gd name="T21" fmla="*/ 224 h 224"/>
                <a:gd name="T22" fmla="*/ 81 w 223"/>
                <a:gd name="T23" fmla="*/ 183 h 224"/>
                <a:gd name="T24" fmla="*/ 60 w 223"/>
                <a:gd name="T25" fmla="*/ 148 h 224"/>
                <a:gd name="T26" fmla="*/ 71 w 223"/>
                <a:gd name="T27" fmla="*/ 111 h 224"/>
                <a:gd name="T28" fmla="*/ 96 w 223"/>
                <a:gd name="T29" fmla="*/ 117 h 224"/>
                <a:gd name="T30" fmla="*/ 129 w 223"/>
                <a:gd name="T31" fmla="*/ 106 h 224"/>
                <a:gd name="T32" fmla="*/ 149 w 223"/>
                <a:gd name="T33" fmla="*/ 126 h 224"/>
                <a:gd name="T34" fmla="*/ 143 w 223"/>
                <a:gd name="T35" fmla="*/ 148 h 224"/>
                <a:gd name="T36" fmla="*/ 183 w 223"/>
                <a:gd name="T37" fmla="*/ 189 h 224"/>
                <a:gd name="T38" fmla="*/ 223 w 223"/>
                <a:gd name="T39" fmla="*/ 148 h 224"/>
                <a:gd name="T40" fmla="*/ 183 w 223"/>
                <a:gd name="T41" fmla="*/ 108 h 224"/>
                <a:gd name="T42" fmla="*/ 73 w 223"/>
                <a:gd name="T43" fmla="*/ 183 h 224"/>
                <a:gd name="T44" fmla="*/ 41 w 223"/>
                <a:gd name="T45" fmla="*/ 216 h 224"/>
                <a:gd name="T46" fmla="*/ 8 w 223"/>
                <a:gd name="T47" fmla="*/ 183 h 224"/>
                <a:gd name="T48" fmla="*/ 41 w 223"/>
                <a:gd name="T49" fmla="*/ 151 h 224"/>
                <a:gd name="T50" fmla="*/ 73 w 223"/>
                <a:gd name="T51" fmla="*/ 183 h 224"/>
                <a:gd name="T52" fmla="*/ 45 w 223"/>
                <a:gd name="T53" fmla="*/ 59 h 224"/>
                <a:gd name="T54" fmla="*/ 96 w 223"/>
                <a:gd name="T55" fmla="*/ 8 h 224"/>
                <a:gd name="T56" fmla="*/ 146 w 223"/>
                <a:gd name="T57" fmla="*/ 59 h 224"/>
                <a:gd name="T58" fmla="*/ 96 w 223"/>
                <a:gd name="T59" fmla="*/ 109 h 224"/>
                <a:gd name="T60" fmla="*/ 45 w 223"/>
                <a:gd name="T61" fmla="*/ 59 h 224"/>
                <a:gd name="T62" fmla="*/ 183 w 223"/>
                <a:gd name="T63" fmla="*/ 181 h 224"/>
                <a:gd name="T64" fmla="*/ 151 w 223"/>
                <a:gd name="T65" fmla="*/ 148 h 224"/>
                <a:gd name="T66" fmla="*/ 183 w 223"/>
                <a:gd name="T67" fmla="*/ 116 h 224"/>
                <a:gd name="T68" fmla="*/ 215 w 223"/>
                <a:gd name="T69" fmla="*/ 148 h 224"/>
                <a:gd name="T70" fmla="*/ 183 w 223"/>
                <a:gd name="T71" fmla="*/ 18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31"/>
              <a:endParaRPr lang="en-US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4" name="Orange Tile"/>
          <p:cNvGrpSpPr/>
          <p:nvPr userDrawn="1"/>
        </p:nvGrpSpPr>
        <p:grpSpPr>
          <a:xfrm>
            <a:off x="2514409" y="3185267"/>
            <a:ext cx="1326053" cy="1325880"/>
            <a:chOff x="2487267" y="3044261"/>
            <a:chExt cx="1325880" cy="1325880"/>
          </a:xfrm>
        </p:grpSpPr>
        <p:sp>
          <p:nvSpPr>
            <p:cNvPr id="35" name="Rectangle 34"/>
            <p:cNvSpPr/>
            <p:nvPr/>
          </p:nvSpPr>
          <p:spPr bwMode="auto">
            <a:xfrm>
              <a:off x="2487267" y="3044261"/>
              <a:ext cx="1325880" cy="1325880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167"/>
              <a:endParaRPr lang="en-US" sz="23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Freeform 30"/>
            <p:cNvSpPr>
              <a:spLocks noEditPoints="1"/>
            </p:cNvSpPr>
            <p:nvPr/>
          </p:nvSpPr>
          <p:spPr bwMode="auto">
            <a:xfrm>
              <a:off x="2774763" y="3284926"/>
              <a:ext cx="750888" cy="844550"/>
            </a:xfrm>
            <a:custGeom>
              <a:avLst/>
              <a:gdLst>
                <a:gd name="T0" fmla="*/ 15 w 200"/>
                <a:gd name="T1" fmla="*/ 0 h 225"/>
                <a:gd name="T2" fmla="*/ 11 w 200"/>
                <a:gd name="T3" fmla="*/ 17 h 225"/>
                <a:gd name="T4" fmla="*/ 11 w 200"/>
                <a:gd name="T5" fmla="*/ 35 h 225"/>
                <a:gd name="T6" fmla="*/ 0 w 200"/>
                <a:gd name="T7" fmla="*/ 55 h 225"/>
                <a:gd name="T8" fmla="*/ 11 w 200"/>
                <a:gd name="T9" fmla="*/ 75 h 225"/>
                <a:gd name="T10" fmla="*/ 11 w 200"/>
                <a:gd name="T11" fmla="*/ 94 h 225"/>
                <a:gd name="T12" fmla="*/ 0 w 200"/>
                <a:gd name="T13" fmla="*/ 114 h 225"/>
                <a:gd name="T14" fmla="*/ 11 w 200"/>
                <a:gd name="T15" fmla="*/ 134 h 225"/>
                <a:gd name="T16" fmla="*/ 11 w 200"/>
                <a:gd name="T17" fmla="*/ 153 h 225"/>
                <a:gd name="T18" fmla="*/ 0 w 200"/>
                <a:gd name="T19" fmla="*/ 173 h 225"/>
                <a:gd name="T20" fmla="*/ 11 w 200"/>
                <a:gd name="T21" fmla="*/ 193 h 225"/>
                <a:gd name="T22" fmla="*/ 11 w 200"/>
                <a:gd name="T23" fmla="*/ 211 h 225"/>
                <a:gd name="T24" fmla="*/ 15 w 200"/>
                <a:gd name="T25" fmla="*/ 225 h 225"/>
                <a:gd name="T26" fmla="*/ 200 w 200"/>
                <a:gd name="T27" fmla="*/ 185 h 225"/>
                <a:gd name="T28" fmla="*/ 160 w 200"/>
                <a:gd name="T29" fmla="*/ 0 h 225"/>
                <a:gd name="T30" fmla="*/ 11 w 200"/>
                <a:gd name="T31" fmla="*/ 25 h 225"/>
                <a:gd name="T32" fmla="*/ 8 w 200"/>
                <a:gd name="T33" fmla="*/ 26 h 225"/>
                <a:gd name="T34" fmla="*/ 11 w 200"/>
                <a:gd name="T35" fmla="*/ 54 h 225"/>
                <a:gd name="T36" fmla="*/ 8 w 200"/>
                <a:gd name="T37" fmla="*/ 55 h 225"/>
                <a:gd name="T38" fmla="*/ 11 w 200"/>
                <a:gd name="T39" fmla="*/ 83 h 225"/>
                <a:gd name="T40" fmla="*/ 8 w 200"/>
                <a:gd name="T41" fmla="*/ 85 h 225"/>
                <a:gd name="T42" fmla="*/ 11 w 200"/>
                <a:gd name="T43" fmla="*/ 113 h 225"/>
                <a:gd name="T44" fmla="*/ 8 w 200"/>
                <a:gd name="T45" fmla="*/ 114 h 225"/>
                <a:gd name="T46" fmla="*/ 11 w 200"/>
                <a:gd name="T47" fmla="*/ 142 h 225"/>
                <a:gd name="T48" fmla="*/ 8 w 200"/>
                <a:gd name="T49" fmla="*/ 143 h 225"/>
                <a:gd name="T50" fmla="*/ 11 w 200"/>
                <a:gd name="T51" fmla="*/ 171 h 225"/>
                <a:gd name="T52" fmla="*/ 8 w 200"/>
                <a:gd name="T53" fmla="*/ 173 h 225"/>
                <a:gd name="T54" fmla="*/ 11 w 200"/>
                <a:gd name="T55" fmla="*/ 201 h 225"/>
                <a:gd name="T56" fmla="*/ 8 w 200"/>
                <a:gd name="T57" fmla="*/ 202 h 225"/>
                <a:gd name="T58" fmla="*/ 160 w 200"/>
                <a:gd name="T59" fmla="*/ 217 h 225"/>
                <a:gd name="T60" fmla="*/ 19 w 200"/>
                <a:gd name="T61" fmla="*/ 201 h 225"/>
                <a:gd name="T62" fmla="*/ 21 w 200"/>
                <a:gd name="T63" fmla="*/ 205 h 225"/>
                <a:gd name="T64" fmla="*/ 27 w 200"/>
                <a:gd name="T65" fmla="*/ 198 h 225"/>
                <a:gd name="T66" fmla="*/ 19 w 200"/>
                <a:gd name="T67" fmla="*/ 172 h 225"/>
                <a:gd name="T68" fmla="*/ 21 w 200"/>
                <a:gd name="T69" fmla="*/ 175 h 225"/>
                <a:gd name="T70" fmla="*/ 27 w 200"/>
                <a:gd name="T71" fmla="*/ 168 h 225"/>
                <a:gd name="T72" fmla="*/ 19 w 200"/>
                <a:gd name="T73" fmla="*/ 142 h 225"/>
                <a:gd name="T74" fmla="*/ 21 w 200"/>
                <a:gd name="T75" fmla="*/ 146 h 225"/>
                <a:gd name="T76" fmla="*/ 27 w 200"/>
                <a:gd name="T77" fmla="*/ 139 h 225"/>
                <a:gd name="T78" fmla="*/ 19 w 200"/>
                <a:gd name="T79" fmla="*/ 113 h 225"/>
                <a:gd name="T80" fmla="*/ 21 w 200"/>
                <a:gd name="T81" fmla="*/ 117 h 225"/>
                <a:gd name="T82" fmla="*/ 27 w 200"/>
                <a:gd name="T83" fmla="*/ 110 h 225"/>
                <a:gd name="T84" fmla="*/ 19 w 200"/>
                <a:gd name="T85" fmla="*/ 83 h 225"/>
                <a:gd name="T86" fmla="*/ 21 w 200"/>
                <a:gd name="T87" fmla="*/ 87 h 225"/>
                <a:gd name="T88" fmla="*/ 27 w 200"/>
                <a:gd name="T89" fmla="*/ 80 h 225"/>
                <a:gd name="T90" fmla="*/ 19 w 200"/>
                <a:gd name="T91" fmla="*/ 54 h 225"/>
                <a:gd name="T92" fmla="*/ 21 w 200"/>
                <a:gd name="T93" fmla="*/ 58 h 225"/>
                <a:gd name="T94" fmla="*/ 27 w 200"/>
                <a:gd name="T95" fmla="*/ 51 h 225"/>
                <a:gd name="T96" fmla="*/ 19 w 200"/>
                <a:gd name="T97" fmla="*/ 25 h 225"/>
                <a:gd name="T98" fmla="*/ 21 w 200"/>
                <a:gd name="T99" fmla="*/ 29 h 225"/>
                <a:gd name="T100" fmla="*/ 27 w 200"/>
                <a:gd name="T101" fmla="*/ 22 h 225"/>
                <a:gd name="T102" fmla="*/ 19 w 200"/>
                <a:gd name="T103" fmla="*/ 8 h 225"/>
                <a:gd name="T104" fmla="*/ 192 w 200"/>
                <a:gd name="T105" fmla="*/ 4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0" h="225">
                  <a:moveTo>
                    <a:pt x="16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2" y="0"/>
                    <a:pt x="11" y="2"/>
                    <a:pt x="11" y="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4" y="18"/>
                    <a:pt x="0" y="21"/>
                    <a:pt x="0" y="26"/>
                  </a:cubicBezTo>
                  <a:cubicBezTo>
                    <a:pt x="0" y="30"/>
                    <a:pt x="4" y="34"/>
                    <a:pt x="11" y="35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4" y="47"/>
                    <a:pt x="0" y="51"/>
                    <a:pt x="0" y="55"/>
                  </a:cubicBezTo>
                  <a:cubicBezTo>
                    <a:pt x="0" y="60"/>
                    <a:pt x="4" y="63"/>
                    <a:pt x="11" y="65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4" y="76"/>
                    <a:pt x="0" y="80"/>
                    <a:pt x="0" y="85"/>
                  </a:cubicBezTo>
                  <a:cubicBezTo>
                    <a:pt x="0" y="89"/>
                    <a:pt x="4" y="93"/>
                    <a:pt x="11" y="9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4" y="106"/>
                    <a:pt x="0" y="109"/>
                    <a:pt x="0" y="114"/>
                  </a:cubicBezTo>
                  <a:cubicBezTo>
                    <a:pt x="0" y="119"/>
                    <a:pt x="4" y="122"/>
                    <a:pt x="11" y="123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4" y="135"/>
                    <a:pt x="0" y="139"/>
                    <a:pt x="0" y="143"/>
                  </a:cubicBezTo>
                  <a:cubicBezTo>
                    <a:pt x="0" y="148"/>
                    <a:pt x="4" y="152"/>
                    <a:pt x="11" y="153"/>
                  </a:cubicBezTo>
                  <a:cubicBezTo>
                    <a:pt x="11" y="163"/>
                    <a:pt x="11" y="163"/>
                    <a:pt x="11" y="163"/>
                  </a:cubicBezTo>
                  <a:cubicBezTo>
                    <a:pt x="4" y="164"/>
                    <a:pt x="0" y="168"/>
                    <a:pt x="0" y="173"/>
                  </a:cubicBezTo>
                  <a:cubicBezTo>
                    <a:pt x="0" y="177"/>
                    <a:pt x="4" y="181"/>
                    <a:pt x="11" y="182"/>
                  </a:cubicBezTo>
                  <a:cubicBezTo>
                    <a:pt x="11" y="193"/>
                    <a:pt x="11" y="193"/>
                    <a:pt x="11" y="193"/>
                  </a:cubicBezTo>
                  <a:cubicBezTo>
                    <a:pt x="4" y="194"/>
                    <a:pt x="0" y="197"/>
                    <a:pt x="0" y="202"/>
                  </a:cubicBezTo>
                  <a:cubicBezTo>
                    <a:pt x="0" y="207"/>
                    <a:pt x="4" y="210"/>
                    <a:pt x="11" y="211"/>
                  </a:cubicBezTo>
                  <a:cubicBezTo>
                    <a:pt x="11" y="221"/>
                    <a:pt x="11" y="221"/>
                    <a:pt x="11" y="221"/>
                  </a:cubicBezTo>
                  <a:cubicBezTo>
                    <a:pt x="11" y="223"/>
                    <a:pt x="12" y="225"/>
                    <a:pt x="15" y="225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82" y="225"/>
                    <a:pt x="200" y="207"/>
                    <a:pt x="200" y="185"/>
                  </a:cubicBezTo>
                  <a:cubicBezTo>
                    <a:pt x="200" y="40"/>
                    <a:pt x="200" y="40"/>
                    <a:pt x="200" y="40"/>
                  </a:cubicBezTo>
                  <a:cubicBezTo>
                    <a:pt x="200" y="18"/>
                    <a:pt x="182" y="0"/>
                    <a:pt x="160" y="0"/>
                  </a:cubicBezTo>
                  <a:close/>
                  <a:moveTo>
                    <a:pt x="8" y="26"/>
                  </a:moveTo>
                  <a:cubicBezTo>
                    <a:pt x="9" y="26"/>
                    <a:pt x="9" y="25"/>
                    <a:pt x="11" y="25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9" y="27"/>
                    <a:pt x="9" y="26"/>
                    <a:pt x="8" y="26"/>
                  </a:cubicBezTo>
                  <a:close/>
                  <a:moveTo>
                    <a:pt x="8" y="55"/>
                  </a:moveTo>
                  <a:cubicBezTo>
                    <a:pt x="9" y="55"/>
                    <a:pt x="9" y="54"/>
                    <a:pt x="11" y="54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9" y="56"/>
                    <a:pt x="9" y="56"/>
                    <a:pt x="8" y="55"/>
                  </a:cubicBezTo>
                  <a:close/>
                  <a:moveTo>
                    <a:pt x="8" y="85"/>
                  </a:moveTo>
                  <a:cubicBezTo>
                    <a:pt x="9" y="84"/>
                    <a:pt x="9" y="84"/>
                    <a:pt x="11" y="83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9" y="85"/>
                    <a:pt x="9" y="85"/>
                    <a:pt x="8" y="85"/>
                  </a:cubicBezTo>
                  <a:close/>
                  <a:moveTo>
                    <a:pt x="8" y="114"/>
                  </a:moveTo>
                  <a:cubicBezTo>
                    <a:pt x="9" y="114"/>
                    <a:pt x="9" y="113"/>
                    <a:pt x="11" y="113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9" y="115"/>
                    <a:pt x="9" y="114"/>
                    <a:pt x="8" y="114"/>
                  </a:cubicBezTo>
                  <a:close/>
                  <a:moveTo>
                    <a:pt x="8" y="143"/>
                  </a:moveTo>
                  <a:cubicBezTo>
                    <a:pt x="9" y="143"/>
                    <a:pt x="9" y="142"/>
                    <a:pt x="11" y="142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9" y="144"/>
                    <a:pt x="9" y="144"/>
                    <a:pt x="8" y="143"/>
                  </a:cubicBezTo>
                  <a:close/>
                  <a:moveTo>
                    <a:pt x="8" y="173"/>
                  </a:moveTo>
                  <a:cubicBezTo>
                    <a:pt x="9" y="172"/>
                    <a:pt x="9" y="172"/>
                    <a:pt x="11" y="171"/>
                  </a:cubicBezTo>
                  <a:cubicBezTo>
                    <a:pt x="11" y="174"/>
                    <a:pt x="11" y="174"/>
                    <a:pt x="11" y="174"/>
                  </a:cubicBezTo>
                  <a:cubicBezTo>
                    <a:pt x="9" y="173"/>
                    <a:pt x="9" y="173"/>
                    <a:pt x="8" y="173"/>
                  </a:cubicBezTo>
                  <a:close/>
                  <a:moveTo>
                    <a:pt x="8" y="202"/>
                  </a:moveTo>
                  <a:cubicBezTo>
                    <a:pt x="9" y="202"/>
                    <a:pt x="9" y="201"/>
                    <a:pt x="11" y="201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9" y="203"/>
                    <a:pt x="9" y="202"/>
                    <a:pt x="8" y="202"/>
                  </a:cubicBezTo>
                  <a:close/>
                  <a:moveTo>
                    <a:pt x="192" y="185"/>
                  </a:moveTo>
                  <a:cubicBezTo>
                    <a:pt x="192" y="202"/>
                    <a:pt x="177" y="217"/>
                    <a:pt x="160" y="217"/>
                  </a:cubicBezTo>
                  <a:cubicBezTo>
                    <a:pt x="19" y="217"/>
                    <a:pt x="19" y="217"/>
                    <a:pt x="19" y="217"/>
                  </a:cubicBezTo>
                  <a:cubicBezTo>
                    <a:pt x="19" y="201"/>
                    <a:pt x="19" y="201"/>
                    <a:pt x="19" y="201"/>
                  </a:cubicBezTo>
                  <a:cubicBezTo>
                    <a:pt x="20" y="201"/>
                    <a:pt x="20" y="202"/>
                    <a:pt x="21" y="202"/>
                  </a:cubicBezTo>
                  <a:cubicBezTo>
                    <a:pt x="21" y="203"/>
                    <a:pt x="22" y="203"/>
                    <a:pt x="21" y="205"/>
                  </a:cubicBezTo>
                  <a:cubicBezTo>
                    <a:pt x="29" y="207"/>
                    <a:pt x="29" y="207"/>
                    <a:pt x="29" y="207"/>
                  </a:cubicBezTo>
                  <a:cubicBezTo>
                    <a:pt x="30" y="203"/>
                    <a:pt x="29" y="200"/>
                    <a:pt x="27" y="198"/>
                  </a:cubicBezTo>
                  <a:cubicBezTo>
                    <a:pt x="26" y="195"/>
                    <a:pt x="22" y="193"/>
                    <a:pt x="19" y="193"/>
                  </a:cubicBezTo>
                  <a:cubicBezTo>
                    <a:pt x="19" y="172"/>
                    <a:pt x="19" y="172"/>
                    <a:pt x="19" y="172"/>
                  </a:cubicBezTo>
                  <a:cubicBezTo>
                    <a:pt x="20" y="172"/>
                    <a:pt x="20" y="172"/>
                    <a:pt x="21" y="173"/>
                  </a:cubicBezTo>
                  <a:cubicBezTo>
                    <a:pt x="21" y="173"/>
                    <a:pt x="22" y="174"/>
                    <a:pt x="21" y="175"/>
                  </a:cubicBezTo>
                  <a:cubicBezTo>
                    <a:pt x="29" y="178"/>
                    <a:pt x="29" y="178"/>
                    <a:pt x="29" y="178"/>
                  </a:cubicBezTo>
                  <a:cubicBezTo>
                    <a:pt x="30" y="173"/>
                    <a:pt x="29" y="170"/>
                    <a:pt x="27" y="168"/>
                  </a:cubicBezTo>
                  <a:cubicBezTo>
                    <a:pt x="26" y="166"/>
                    <a:pt x="22" y="164"/>
                    <a:pt x="19" y="163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20" y="143"/>
                    <a:pt x="20" y="143"/>
                    <a:pt x="21" y="144"/>
                  </a:cubicBezTo>
                  <a:cubicBezTo>
                    <a:pt x="21" y="144"/>
                    <a:pt x="22" y="145"/>
                    <a:pt x="21" y="146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0" y="144"/>
                    <a:pt x="29" y="141"/>
                    <a:pt x="27" y="139"/>
                  </a:cubicBezTo>
                  <a:cubicBezTo>
                    <a:pt x="26" y="136"/>
                    <a:pt x="22" y="135"/>
                    <a:pt x="19" y="134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20" y="113"/>
                    <a:pt x="20" y="114"/>
                    <a:pt x="21" y="114"/>
                  </a:cubicBezTo>
                  <a:cubicBezTo>
                    <a:pt x="21" y="115"/>
                    <a:pt x="22" y="115"/>
                    <a:pt x="21" y="117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30" y="115"/>
                    <a:pt x="29" y="111"/>
                    <a:pt x="27" y="110"/>
                  </a:cubicBezTo>
                  <a:cubicBezTo>
                    <a:pt x="26" y="107"/>
                    <a:pt x="22" y="105"/>
                    <a:pt x="19" y="105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0" y="84"/>
                    <a:pt x="20" y="84"/>
                    <a:pt x="21" y="85"/>
                  </a:cubicBezTo>
                  <a:cubicBezTo>
                    <a:pt x="21" y="85"/>
                    <a:pt x="22" y="86"/>
                    <a:pt x="21" y="87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30" y="85"/>
                    <a:pt x="29" y="82"/>
                    <a:pt x="27" y="80"/>
                  </a:cubicBezTo>
                  <a:cubicBezTo>
                    <a:pt x="26" y="78"/>
                    <a:pt x="22" y="76"/>
                    <a:pt x="19" y="75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0" y="54"/>
                    <a:pt x="20" y="55"/>
                    <a:pt x="21" y="56"/>
                  </a:cubicBezTo>
                  <a:cubicBezTo>
                    <a:pt x="21" y="56"/>
                    <a:pt x="22" y="56"/>
                    <a:pt x="21" y="58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30" y="56"/>
                    <a:pt x="29" y="53"/>
                    <a:pt x="27" y="51"/>
                  </a:cubicBezTo>
                  <a:cubicBezTo>
                    <a:pt x="26" y="48"/>
                    <a:pt x="22" y="47"/>
                    <a:pt x="19" y="46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20" y="25"/>
                    <a:pt x="20" y="26"/>
                    <a:pt x="21" y="26"/>
                  </a:cubicBezTo>
                  <a:cubicBezTo>
                    <a:pt x="21" y="26"/>
                    <a:pt x="22" y="27"/>
                    <a:pt x="21" y="29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27"/>
                    <a:pt x="29" y="23"/>
                    <a:pt x="27" y="22"/>
                  </a:cubicBezTo>
                  <a:cubicBezTo>
                    <a:pt x="26" y="19"/>
                    <a:pt x="22" y="17"/>
                    <a:pt x="19" y="16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77" y="8"/>
                    <a:pt x="192" y="22"/>
                    <a:pt x="192" y="40"/>
                  </a:cubicBezTo>
                  <a:lnTo>
                    <a:pt x="192" y="1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31"/>
              <a:endParaRPr lang="en-US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7" name="Teal Tile"/>
          <p:cNvGrpSpPr/>
          <p:nvPr userDrawn="1"/>
        </p:nvGrpSpPr>
        <p:grpSpPr>
          <a:xfrm>
            <a:off x="1016652" y="4682828"/>
            <a:ext cx="1326053" cy="1325880"/>
            <a:chOff x="1020317" y="4686638"/>
            <a:chExt cx="1325880" cy="1325880"/>
          </a:xfrm>
        </p:grpSpPr>
        <p:sp>
          <p:nvSpPr>
            <p:cNvPr id="38" name="Rectangle 37"/>
            <p:cNvSpPr/>
            <p:nvPr/>
          </p:nvSpPr>
          <p:spPr bwMode="auto">
            <a:xfrm>
              <a:off x="1020317" y="4686638"/>
              <a:ext cx="1325880" cy="1325880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167"/>
              <a:endParaRPr lang="en-US" sz="23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9" name="Freeform 13"/>
            <p:cNvSpPr>
              <a:spLocks noEditPoints="1"/>
            </p:cNvSpPr>
            <p:nvPr/>
          </p:nvSpPr>
          <p:spPr bwMode="auto">
            <a:xfrm>
              <a:off x="1455948" y="4930478"/>
              <a:ext cx="454618" cy="838200"/>
            </a:xfrm>
            <a:custGeom>
              <a:avLst/>
              <a:gdLst>
                <a:gd name="T0" fmla="*/ 2 w 122"/>
                <a:gd name="T1" fmla="*/ 65 h 225"/>
                <a:gd name="T2" fmla="*/ 14 w 122"/>
                <a:gd name="T3" fmla="*/ 77 h 225"/>
                <a:gd name="T4" fmla="*/ 17 w 122"/>
                <a:gd name="T5" fmla="*/ 76 h 225"/>
                <a:gd name="T6" fmla="*/ 119 w 122"/>
                <a:gd name="T7" fmla="*/ 42 h 225"/>
                <a:gd name="T8" fmla="*/ 119 w 122"/>
                <a:gd name="T9" fmla="*/ 30 h 225"/>
                <a:gd name="T10" fmla="*/ 105 w 122"/>
                <a:gd name="T11" fmla="*/ 23 h 225"/>
                <a:gd name="T12" fmla="*/ 3 w 122"/>
                <a:gd name="T13" fmla="*/ 57 h 225"/>
                <a:gd name="T14" fmla="*/ 108 w 122"/>
                <a:gd name="T15" fmla="*/ 28 h 225"/>
                <a:gd name="T16" fmla="*/ 114 w 122"/>
                <a:gd name="T17" fmla="*/ 35 h 225"/>
                <a:gd name="T18" fmla="*/ 111 w 122"/>
                <a:gd name="T19" fmla="*/ 42 h 225"/>
                <a:gd name="T20" fmla="*/ 14 w 122"/>
                <a:gd name="T21" fmla="*/ 71 h 225"/>
                <a:gd name="T22" fmla="*/ 9 w 122"/>
                <a:gd name="T23" fmla="*/ 67 h 225"/>
                <a:gd name="T24" fmla="*/ 8 w 122"/>
                <a:gd name="T25" fmla="*/ 59 h 225"/>
                <a:gd name="T26" fmla="*/ 106 w 122"/>
                <a:gd name="T27" fmla="*/ 28 h 225"/>
                <a:gd name="T28" fmla="*/ 14 w 122"/>
                <a:gd name="T29" fmla="*/ 43 h 225"/>
                <a:gd name="T30" fmla="*/ 66 w 122"/>
                <a:gd name="T31" fmla="*/ 28 h 225"/>
                <a:gd name="T32" fmla="*/ 73 w 122"/>
                <a:gd name="T33" fmla="*/ 10 h 225"/>
                <a:gd name="T34" fmla="*/ 9 w 122"/>
                <a:gd name="T35" fmla="*/ 17 h 225"/>
                <a:gd name="T36" fmla="*/ 3 w 122"/>
                <a:gd name="T37" fmla="*/ 35 h 225"/>
                <a:gd name="T38" fmla="*/ 61 w 122"/>
                <a:gd name="T39" fmla="*/ 8 h 225"/>
                <a:gd name="T40" fmla="*/ 67 w 122"/>
                <a:gd name="T41" fmla="*/ 12 h 225"/>
                <a:gd name="T42" fmla="*/ 65 w 122"/>
                <a:gd name="T43" fmla="*/ 22 h 225"/>
                <a:gd name="T44" fmla="*/ 14 w 122"/>
                <a:gd name="T45" fmla="*/ 37 h 225"/>
                <a:gd name="T46" fmla="*/ 8 w 122"/>
                <a:gd name="T47" fmla="*/ 30 h 225"/>
                <a:gd name="T48" fmla="*/ 120 w 122"/>
                <a:gd name="T49" fmla="*/ 101 h 225"/>
                <a:gd name="T50" fmla="*/ 105 w 122"/>
                <a:gd name="T51" fmla="*/ 90 h 225"/>
                <a:gd name="T52" fmla="*/ 72 w 122"/>
                <a:gd name="T53" fmla="*/ 110 h 225"/>
                <a:gd name="T54" fmla="*/ 55 w 122"/>
                <a:gd name="T55" fmla="*/ 138 h 225"/>
                <a:gd name="T56" fmla="*/ 53 w 122"/>
                <a:gd name="T57" fmla="*/ 99 h 225"/>
                <a:gd name="T58" fmla="*/ 119 w 122"/>
                <a:gd name="T59" fmla="*/ 76 h 225"/>
                <a:gd name="T60" fmla="*/ 119 w 122"/>
                <a:gd name="T61" fmla="*/ 64 h 225"/>
                <a:gd name="T62" fmla="*/ 9 w 122"/>
                <a:gd name="T63" fmla="*/ 85 h 225"/>
                <a:gd name="T64" fmla="*/ 1 w 122"/>
                <a:gd name="T65" fmla="*/ 97 h 225"/>
                <a:gd name="T66" fmla="*/ 3 w 122"/>
                <a:gd name="T67" fmla="*/ 102 h 225"/>
                <a:gd name="T68" fmla="*/ 11 w 122"/>
                <a:gd name="T69" fmla="*/ 110 h 225"/>
                <a:gd name="T70" fmla="*/ 28 w 122"/>
                <a:gd name="T71" fmla="*/ 121 h 225"/>
                <a:gd name="T72" fmla="*/ 17 w 122"/>
                <a:gd name="T73" fmla="*/ 138 h 225"/>
                <a:gd name="T74" fmla="*/ 40 w 122"/>
                <a:gd name="T75" fmla="*/ 209 h 225"/>
                <a:gd name="T76" fmla="*/ 53 w 122"/>
                <a:gd name="T77" fmla="*/ 225 h 225"/>
                <a:gd name="T78" fmla="*/ 87 w 122"/>
                <a:gd name="T79" fmla="*/ 214 h 225"/>
                <a:gd name="T80" fmla="*/ 110 w 122"/>
                <a:gd name="T81" fmla="*/ 187 h 225"/>
                <a:gd name="T82" fmla="*/ 99 w 122"/>
                <a:gd name="T83" fmla="*/ 138 h 225"/>
                <a:gd name="T84" fmla="*/ 104 w 122"/>
                <a:gd name="T85" fmla="*/ 117 h 225"/>
                <a:gd name="T86" fmla="*/ 120 w 122"/>
                <a:gd name="T87" fmla="*/ 101 h 225"/>
                <a:gd name="T88" fmla="*/ 47 w 122"/>
                <a:gd name="T89" fmla="*/ 101 h 225"/>
                <a:gd name="T90" fmla="*/ 49 w 122"/>
                <a:gd name="T91" fmla="*/ 138 h 225"/>
                <a:gd name="T92" fmla="*/ 35 w 122"/>
                <a:gd name="T93" fmla="*/ 121 h 225"/>
                <a:gd name="T94" fmla="*/ 24 w 122"/>
                <a:gd name="T95" fmla="*/ 108 h 225"/>
                <a:gd name="T96" fmla="*/ 12 w 122"/>
                <a:gd name="T97" fmla="*/ 104 h 225"/>
                <a:gd name="T98" fmla="*/ 8 w 122"/>
                <a:gd name="T99" fmla="*/ 97 h 225"/>
                <a:gd name="T100" fmla="*/ 8 w 122"/>
                <a:gd name="T101" fmla="*/ 93 h 225"/>
                <a:gd name="T102" fmla="*/ 12 w 122"/>
                <a:gd name="T103" fmla="*/ 90 h 225"/>
                <a:gd name="T104" fmla="*/ 24 w 122"/>
                <a:gd name="T105" fmla="*/ 86 h 225"/>
                <a:gd name="T106" fmla="*/ 108 w 122"/>
                <a:gd name="T107" fmla="*/ 62 h 225"/>
                <a:gd name="T108" fmla="*/ 114 w 122"/>
                <a:gd name="T109" fmla="*/ 69 h 225"/>
                <a:gd name="T110" fmla="*/ 111 w 122"/>
                <a:gd name="T111" fmla="*/ 76 h 225"/>
                <a:gd name="T112" fmla="*/ 43 w 122"/>
                <a:gd name="T113" fmla="*/ 98 h 225"/>
                <a:gd name="T114" fmla="*/ 103 w 122"/>
                <a:gd name="T115" fmla="*/ 111 h 225"/>
                <a:gd name="T116" fmla="*/ 92 w 122"/>
                <a:gd name="T117" fmla="*/ 138 h 225"/>
                <a:gd name="T118" fmla="*/ 78 w 122"/>
                <a:gd name="T119" fmla="*/ 110 h 225"/>
                <a:gd name="T120" fmla="*/ 106 w 122"/>
                <a:gd name="T121" fmla="*/ 96 h 225"/>
                <a:gd name="T122" fmla="*/ 114 w 122"/>
                <a:gd name="T123" fmla="*/ 103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" h="225">
                  <a:moveTo>
                    <a:pt x="3" y="57"/>
                  </a:moveTo>
                  <a:cubicBezTo>
                    <a:pt x="1" y="59"/>
                    <a:pt x="1" y="62"/>
                    <a:pt x="2" y="65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4" y="74"/>
                    <a:pt x="9" y="77"/>
                    <a:pt x="14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5" y="77"/>
                    <a:pt x="16" y="77"/>
                    <a:pt x="17" y="76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5" y="47"/>
                    <a:pt x="118" y="45"/>
                    <a:pt x="119" y="42"/>
                  </a:cubicBezTo>
                  <a:cubicBezTo>
                    <a:pt x="120" y="40"/>
                    <a:pt x="121" y="37"/>
                    <a:pt x="120" y="34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7" y="25"/>
                    <a:pt x="113" y="22"/>
                    <a:pt x="108" y="22"/>
                  </a:cubicBezTo>
                  <a:cubicBezTo>
                    <a:pt x="107" y="22"/>
                    <a:pt x="106" y="22"/>
                    <a:pt x="105" y="23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6" y="52"/>
                    <a:pt x="4" y="54"/>
                    <a:pt x="3" y="57"/>
                  </a:cubicBezTo>
                  <a:close/>
                  <a:moveTo>
                    <a:pt x="106" y="28"/>
                  </a:moveTo>
                  <a:cubicBezTo>
                    <a:pt x="107" y="28"/>
                    <a:pt x="107" y="28"/>
                    <a:pt x="108" y="28"/>
                  </a:cubicBezTo>
                  <a:cubicBezTo>
                    <a:pt x="110" y="28"/>
                    <a:pt x="112" y="30"/>
                    <a:pt x="113" y="32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5" y="37"/>
                    <a:pt x="114" y="38"/>
                    <a:pt x="114" y="40"/>
                  </a:cubicBezTo>
                  <a:cubicBezTo>
                    <a:pt x="113" y="41"/>
                    <a:pt x="112" y="42"/>
                    <a:pt x="111" y="42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5" y="71"/>
                    <a:pt x="14" y="71"/>
                    <a:pt x="14" y="71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1" y="71"/>
                    <a:pt x="9" y="69"/>
                    <a:pt x="9" y="67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7" y="62"/>
                    <a:pt x="7" y="61"/>
                    <a:pt x="8" y="59"/>
                  </a:cubicBezTo>
                  <a:cubicBezTo>
                    <a:pt x="9" y="58"/>
                    <a:pt x="10" y="57"/>
                    <a:pt x="11" y="57"/>
                  </a:cubicBezTo>
                  <a:lnTo>
                    <a:pt x="106" y="28"/>
                  </a:lnTo>
                  <a:close/>
                  <a:moveTo>
                    <a:pt x="3" y="35"/>
                  </a:moveTo>
                  <a:cubicBezTo>
                    <a:pt x="4" y="40"/>
                    <a:pt x="9" y="43"/>
                    <a:pt x="14" y="43"/>
                  </a:cubicBezTo>
                  <a:cubicBezTo>
                    <a:pt x="15" y="43"/>
                    <a:pt x="16" y="43"/>
                    <a:pt x="17" y="43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72" y="26"/>
                    <a:pt x="76" y="19"/>
                    <a:pt x="74" y="13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1" y="4"/>
                    <a:pt x="65" y="0"/>
                    <a:pt x="59" y="2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" y="19"/>
                    <a:pt x="0" y="25"/>
                    <a:pt x="2" y="31"/>
                  </a:cubicBezTo>
                  <a:lnTo>
                    <a:pt x="3" y="35"/>
                  </a:lnTo>
                  <a:close/>
                  <a:moveTo>
                    <a:pt x="11" y="23"/>
                  </a:moveTo>
                  <a:cubicBezTo>
                    <a:pt x="61" y="8"/>
                    <a:pt x="61" y="8"/>
                    <a:pt x="61" y="8"/>
                  </a:cubicBezTo>
                  <a:cubicBezTo>
                    <a:pt x="61" y="8"/>
                    <a:pt x="62" y="8"/>
                    <a:pt x="62" y="8"/>
                  </a:cubicBezTo>
                  <a:cubicBezTo>
                    <a:pt x="64" y="8"/>
                    <a:pt x="67" y="9"/>
                    <a:pt x="67" y="12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9" y="18"/>
                    <a:pt x="68" y="21"/>
                    <a:pt x="65" y="22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4" y="37"/>
                    <a:pt x="14" y="37"/>
                  </a:cubicBezTo>
                  <a:cubicBezTo>
                    <a:pt x="11" y="37"/>
                    <a:pt x="9" y="36"/>
                    <a:pt x="9" y="33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7" y="27"/>
                    <a:pt x="8" y="24"/>
                    <a:pt x="11" y="23"/>
                  </a:cubicBezTo>
                  <a:close/>
                  <a:moveTo>
                    <a:pt x="120" y="101"/>
                  </a:moveTo>
                  <a:cubicBezTo>
                    <a:pt x="119" y="97"/>
                    <a:pt x="119" y="97"/>
                    <a:pt x="119" y="97"/>
                  </a:cubicBezTo>
                  <a:cubicBezTo>
                    <a:pt x="117" y="92"/>
                    <a:pt x="110" y="88"/>
                    <a:pt x="105" y="90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76" y="98"/>
                    <a:pt x="72" y="104"/>
                    <a:pt x="72" y="110"/>
                  </a:cubicBezTo>
                  <a:cubicBezTo>
                    <a:pt x="72" y="138"/>
                    <a:pt x="72" y="138"/>
                    <a:pt x="72" y="138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55" y="104"/>
                    <a:pt x="54" y="101"/>
                    <a:pt x="53" y="99"/>
                  </a:cubicBezTo>
                  <a:cubicBezTo>
                    <a:pt x="112" y="82"/>
                    <a:pt x="112" y="82"/>
                    <a:pt x="112" y="82"/>
                  </a:cubicBezTo>
                  <a:cubicBezTo>
                    <a:pt x="115" y="81"/>
                    <a:pt x="118" y="79"/>
                    <a:pt x="119" y="76"/>
                  </a:cubicBezTo>
                  <a:cubicBezTo>
                    <a:pt x="120" y="73"/>
                    <a:pt x="121" y="70"/>
                    <a:pt x="120" y="67"/>
                  </a:cubicBezTo>
                  <a:cubicBezTo>
                    <a:pt x="119" y="64"/>
                    <a:pt x="119" y="64"/>
                    <a:pt x="119" y="64"/>
                  </a:cubicBezTo>
                  <a:cubicBezTo>
                    <a:pt x="117" y="58"/>
                    <a:pt x="110" y="54"/>
                    <a:pt x="105" y="56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6" y="86"/>
                    <a:pt x="4" y="88"/>
                    <a:pt x="3" y="90"/>
                  </a:cubicBezTo>
                  <a:cubicBezTo>
                    <a:pt x="1" y="92"/>
                    <a:pt x="1" y="95"/>
                    <a:pt x="1" y="97"/>
                  </a:cubicBezTo>
                  <a:cubicBezTo>
                    <a:pt x="2" y="98"/>
                    <a:pt x="2" y="98"/>
                    <a:pt x="2" y="99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4" y="106"/>
                    <a:pt x="7" y="109"/>
                    <a:pt x="10" y="110"/>
                  </a:cubicBezTo>
                  <a:cubicBezTo>
                    <a:pt x="11" y="110"/>
                    <a:pt x="11" y="110"/>
                    <a:pt x="11" y="110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6" y="114"/>
                    <a:pt x="28" y="118"/>
                    <a:pt x="28" y="121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17" y="138"/>
                    <a:pt x="17" y="138"/>
                    <a:pt x="17" y="138"/>
                  </a:cubicBezTo>
                  <a:cubicBezTo>
                    <a:pt x="17" y="187"/>
                    <a:pt x="17" y="187"/>
                    <a:pt x="17" y="187"/>
                  </a:cubicBezTo>
                  <a:cubicBezTo>
                    <a:pt x="17" y="199"/>
                    <a:pt x="28" y="208"/>
                    <a:pt x="40" y="209"/>
                  </a:cubicBezTo>
                  <a:cubicBezTo>
                    <a:pt x="40" y="214"/>
                    <a:pt x="40" y="214"/>
                    <a:pt x="40" y="214"/>
                  </a:cubicBezTo>
                  <a:cubicBezTo>
                    <a:pt x="40" y="220"/>
                    <a:pt x="46" y="225"/>
                    <a:pt x="53" y="225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81" y="225"/>
                    <a:pt x="87" y="220"/>
                    <a:pt x="87" y="214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99" y="208"/>
                    <a:pt x="110" y="199"/>
                    <a:pt x="110" y="187"/>
                  </a:cubicBezTo>
                  <a:cubicBezTo>
                    <a:pt x="110" y="138"/>
                    <a:pt x="110" y="138"/>
                    <a:pt x="110" y="138"/>
                  </a:cubicBezTo>
                  <a:cubicBezTo>
                    <a:pt x="99" y="138"/>
                    <a:pt x="99" y="138"/>
                    <a:pt x="99" y="138"/>
                  </a:cubicBezTo>
                  <a:cubicBezTo>
                    <a:pt x="99" y="125"/>
                    <a:pt x="99" y="125"/>
                    <a:pt x="99" y="125"/>
                  </a:cubicBezTo>
                  <a:cubicBezTo>
                    <a:pt x="99" y="122"/>
                    <a:pt x="101" y="118"/>
                    <a:pt x="104" y="117"/>
                  </a:cubicBezTo>
                  <a:cubicBezTo>
                    <a:pt x="112" y="115"/>
                    <a:pt x="112" y="115"/>
                    <a:pt x="112" y="115"/>
                  </a:cubicBezTo>
                  <a:cubicBezTo>
                    <a:pt x="118" y="113"/>
                    <a:pt x="122" y="107"/>
                    <a:pt x="120" y="101"/>
                  </a:cubicBezTo>
                  <a:close/>
                  <a:moveTo>
                    <a:pt x="43" y="98"/>
                  </a:moveTo>
                  <a:cubicBezTo>
                    <a:pt x="45" y="99"/>
                    <a:pt x="46" y="100"/>
                    <a:pt x="47" y="101"/>
                  </a:cubicBezTo>
                  <a:cubicBezTo>
                    <a:pt x="48" y="103"/>
                    <a:pt x="49" y="104"/>
                    <a:pt x="49" y="106"/>
                  </a:cubicBezTo>
                  <a:cubicBezTo>
                    <a:pt x="49" y="138"/>
                    <a:pt x="49" y="138"/>
                    <a:pt x="49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16"/>
                    <a:pt x="30" y="110"/>
                    <a:pt x="25" y="108"/>
                  </a:cubicBezTo>
                  <a:cubicBezTo>
                    <a:pt x="25" y="108"/>
                    <a:pt x="24" y="108"/>
                    <a:pt x="24" y="108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0" y="104"/>
                    <a:pt x="9" y="102"/>
                    <a:pt x="9" y="101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7" y="96"/>
                    <a:pt x="7" y="94"/>
                    <a:pt x="8" y="93"/>
                  </a:cubicBezTo>
                  <a:cubicBezTo>
                    <a:pt x="9" y="92"/>
                    <a:pt x="10" y="91"/>
                    <a:pt x="11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24" y="86"/>
                    <a:pt x="24" y="86"/>
                    <a:pt x="24" y="86"/>
                  </a:cubicBezTo>
                  <a:cubicBezTo>
                    <a:pt x="106" y="62"/>
                    <a:pt x="106" y="62"/>
                    <a:pt x="106" y="62"/>
                  </a:cubicBezTo>
                  <a:cubicBezTo>
                    <a:pt x="107" y="62"/>
                    <a:pt x="107" y="62"/>
                    <a:pt x="108" y="62"/>
                  </a:cubicBezTo>
                  <a:cubicBezTo>
                    <a:pt x="110" y="62"/>
                    <a:pt x="112" y="63"/>
                    <a:pt x="113" y="66"/>
                  </a:cubicBezTo>
                  <a:cubicBezTo>
                    <a:pt x="114" y="69"/>
                    <a:pt x="114" y="69"/>
                    <a:pt x="114" y="69"/>
                  </a:cubicBezTo>
                  <a:cubicBezTo>
                    <a:pt x="115" y="71"/>
                    <a:pt x="114" y="72"/>
                    <a:pt x="114" y="73"/>
                  </a:cubicBezTo>
                  <a:cubicBezTo>
                    <a:pt x="113" y="74"/>
                    <a:pt x="112" y="75"/>
                    <a:pt x="111" y="76"/>
                  </a:cubicBezTo>
                  <a:cubicBezTo>
                    <a:pt x="49" y="94"/>
                    <a:pt x="49" y="94"/>
                    <a:pt x="49" y="94"/>
                  </a:cubicBezTo>
                  <a:cubicBezTo>
                    <a:pt x="39" y="97"/>
                    <a:pt x="43" y="98"/>
                    <a:pt x="43" y="98"/>
                  </a:cubicBezTo>
                  <a:close/>
                  <a:moveTo>
                    <a:pt x="111" y="109"/>
                  </a:moveTo>
                  <a:cubicBezTo>
                    <a:pt x="103" y="111"/>
                    <a:pt x="103" y="111"/>
                    <a:pt x="103" y="111"/>
                  </a:cubicBezTo>
                  <a:cubicBezTo>
                    <a:pt x="97" y="113"/>
                    <a:pt x="92" y="119"/>
                    <a:pt x="92" y="125"/>
                  </a:cubicBezTo>
                  <a:cubicBezTo>
                    <a:pt x="92" y="138"/>
                    <a:pt x="92" y="138"/>
                    <a:pt x="92" y="138"/>
                  </a:cubicBezTo>
                  <a:cubicBezTo>
                    <a:pt x="78" y="138"/>
                    <a:pt x="78" y="138"/>
                    <a:pt x="78" y="138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8" y="107"/>
                    <a:pt x="81" y="103"/>
                    <a:pt x="84" y="102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09" y="95"/>
                    <a:pt x="112" y="96"/>
                    <a:pt x="113" y="99"/>
                  </a:cubicBezTo>
                  <a:cubicBezTo>
                    <a:pt x="114" y="103"/>
                    <a:pt x="114" y="103"/>
                    <a:pt x="114" y="103"/>
                  </a:cubicBezTo>
                  <a:cubicBezTo>
                    <a:pt x="115" y="106"/>
                    <a:pt x="113" y="109"/>
                    <a:pt x="111" y="1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31"/>
              <a:endParaRPr lang="en-US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een Tile"/>
          <p:cNvGrpSpPr/>
          <p:nvPr userDrawn="1"/>
        </p:nvGrpSpPr>
        <p:grpSpPr>
          <a:xfrm>
            <a:off x="2514409" y="4682828"/>
            <a:ext cx="1326053" cy="1325880"/>
            <a:chOff x="2514069" y="4682828"/>
            <a:chExt cx="1325880" cy="1325880"/>
          </a:xfrm>
        </p:grpSpPr>
        <p:sp>
          <p:nvSpPr>
            <p:cNvPr id="41" name="Rectangle 40"/>
            <p:cNvSpPr/>
            <p:nvPr/>
          </p:nvSpPr>
          <p:spPr bwMode="auto">
            <a:xfrm>
              <a:off x="2514069" y="4682828"/>
              <a:ext cx="1325880" cy="1325880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167"/>
              <a:endParaRPr lang="en-US" sz="23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Freeform 73"/>
            <p:cNvSpPr>
              <a:spLocks noEditPoints="1"/>
            </p:cNvSpPr>
            <p:nvPr userDrawn="1"/>
          </p:nvSpPr>
          <p:spPr bwMode="auto">
            <a:xfrm>
              <a:off x="2757463" y="5062311"/>
              <a:ext cx="839092" cy="702557"/>
            </a:xfrm>
            <a:custGeom>
              <a:avLst/>
              <a:gdLst>
                <a:gd name="T0" fmla="*/ 339 w 411"/>
                <a:gd name="T1" fmla="*/ 344 h 344"/>
                <a:gd name="T2" fmla="*/ 334 w 411"/>
                <a:gd name="T3" fmla="*/ 342 h 344"/>
                <a:gd name="T4" fmla="*/ 270 w 411"/>
                <a:gd name="T5" fmla="*/ 277 h 344"/>
                <a:gd name="T6" fmla="*/ 74 w 411"/>
                <a:gd name="T7" fmla="*/ 277 h 344"/>
                <a:gd name="T8" fmla="*/ 0 w 411"/>
                <a:gd name="T9" fmla="*/ 203 h 344"/>
                <a:gd name="T10" fmla="*/ 0 w 411"/>
                <a:gd name="T11" fmla="*/ 74 h 344"/>
                <a:gd name="T12" fmla="*/ 74 w 411"/>
                <a:gd name="T13" fmla="*/ 0 h 344"/>
                <a:gd name="T14" fmla="*/ 338 w 411"/>
                <a:gd name="T15" fmla="*/ 0 h 344"/>
                <a:gd name="T16" fmla="*/ 411 w 411"/>
                <a:gd name="T17" fmla="*/ 74 h 344"/>
                <a:gd name="T18" fmla="*/ 411 w 411"/>
                <a:gd name="T19" fmla="*/ 203 h 344"/>
                <a:gd name="T20" fmla="*/ 347 w 411"/>
                <a:gd name="T21" fmla="*/ 277 h 344"/>
                <a:gd name="T22" fmla="*/ 347 w 411"/>
                <a:gd name="T23" fmla="*/ 337 h 344"/>
                <a:gd name="T24" fmla="*/ 342 w 411"/>
                <a:gd name="T25" fmla="*/ 344 h 344"/>
                <a:gd name="T26" fmla="*/ 339 w 411"/>
                <a:gd name="T27" fmla="*/ 344 h 344"/>
                <a:gd name="T28" fmla="*/ 74 w 411"/>
                <a:gd name="T29" fmla="*/ 15 h 344"/>
                <a:gd name="T30" fmla="*/ 14 w 411"/>
                <a:gd name="T31" fmla="*/ 74 h 344"/>
                <a:gd name="T32" fmla="*/ 14 w 411"/>
                <a:gd name="T33" fmla="*/ 203 h 344"/>
                <a:gd name="T34" fmla="*/ 74 w 411"/>
                <a:gd name="T35" fmla="*/ 262 h 344"/>
                <a:gd name="T36" fmla="*/ 273 w 411"/>
                <a:gd name="T37" fmla="*/ 262 h 344"/>
                <a:gd name="T38" fmla="*/ 278 w 411"/>
                <a:gd name="T39" fmla="*/ 264 h 344"/>
                <a:gd name="T40" fmla="*/ 332 w 411"/>
                <a:gd name="T41" fmla="*/ 319 h 344"/>
                <a:gd name="T42" fmla="*/ 332 w 411"/>
                <a:gd name="T43" fmla="*/ 270 h 344"/>
                <a:gd name="T44" fmla="*/ 339 w 411"/>
                <a:gd name="T45" fmla="*/ 262 h 344"/>
                <a:gd name="T46" fmla="*/ 397 w 411"/>
                <a:gd name="T47" fmla="*/ 203 h 344"/>
                <a:gd name="T48" fmla="*/ 397 w 411"/>
                <a:gd name="T49" fmla="*/ 74 h 344"/>
                <a:gd name="T50" fmla="*/ 338 w 411"/>
                <a:gd name="T51" fmla="*/ 15 h 344"/>
                <a:gd name="T52" fmla="*/ 74 w 411"/>
                <a:gd name="T53" fmla="*/ 15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1" h="344">
                  <a:moveTo>
                    <a:pt x="339" y="344"/>
                  </a:moveTo>
                  <a:cubicBezTo>
                    <a:pt x="337" y="344"/>
                    <a:pt x="336" y="343"/>
                    <a:pt x="334" y="342"/>
                  </a:cubicBezTo>
                  <a:cubicBezTo>
                    <a:pt x="270" y="277"/>
                    <a:pt x="270" y="277"/>
                    <a:pt x="270" y="277"/>
                  </a:cubicBezTo>
                  <a:cubicBezTo>
                    <a:pt x="74" y="277"/>
                    <a:pt x="74" y="277"/>
                    <a:pt x="74" y="277"/>
                  </a:cubicBezTo>
                  <a:cubicBezTo>
                    <a:pt x="33" y="277"/>
                    <a:pt x="0" y="244"/>
                    <a:pt x="0" y="203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378" y="0"/>
                    <a:pt x="411" y="33"/>
                    <a:pt x="411" y="74"/>
                  </a:cubicBezTo>
                  <a:cubicBezTo>
                    <a:pt x="411" y="203"/>
                    <a:pt x="411" y="203"/>
                    <a:pt x="411" y="203"/>
                  </a:cubicBezTo>
                  <a:cubicBezTo>
                    <a:pt x="411" y="242"/>
                    <a:pt x="384" y="273"/>
                    <a:pt x="347" y="277"/>
                  </a:cubicBezTo>
                  <a:cubicBezTo>
                    <a:pt x="347" y="337"/>
                    <a:pt x="347" y="337"/>
                    <a:pt x="347" y="337"/>
                  </a:cubicBezTo>
                  <a:cubicBezTo>
                    <a:pt x="347" y="340"/>
                    <a:pt x="345" y="342"/>
                    <a:pt x="342" y="344"/>
                  </a:cubicBezTo>
                  <a:cubicBezTo>
                    <a:pt x="341" y="344"/>
                    <a:pt x="340" y="344"/>
                    <a:pt x="339" y="344"/>
                  </a:cubicBezTo>
                  <a:close/>
                  <a:moveTo>
                    <a:pt x="74" y="15"/>
                  </a:moveTo>
                  <a:cubicBezTo>
                    <a:pt x="41" y="15"/>
                    <a:pt x="14" y="41"/>
                    <a:pt x="14" y="74"/>
                  </a:cubicBezTo>
                  <a:cubicBezTo>
                    <a:pt x="14" y="203"/>
                    <a:pt x="14" y="203"/>
                    <a:pt x="14" y="203"/>
                  </a:cubicBezTo>
                  <a:cubicBezTo>
                    <a:pt x="14" y="236"/>
                    <a:pt x="41" y="262"/>
                    <a:pt x="74" y="262"/>
                  </a:cubicBezTo>
                  <a:cubicBezTo>
                    <a:pt x="273" y="262"/>
                    <a:pt x="273" y="262"/>
                    <a:pt x="273" y="262"/>
                  </a:cubicBezTo>
                  <a:cubicBezTo>
                    <a:pt x="275" y="262"/>
                    <a:pt x="277" y="263"/>
                    <a:pt x="278" y="264"/>
                  </a:cubicBezTo>
                  <a:cubicBezTo>
                    <a:pt x="332" y="319"/>
                    <a:pt x="332" y="319"/>
                    <a:pt x="332" y="319"/>
                  </a:cubicBezTo>
                  <a:cubicBezTo>
                    <a:pt x="332" y="270"/>
                    <a:pt x="332" y="270"/>
                    <a:pt x="332" y="270"/>
                  </a:cubicBezTo>
                  <a:cubicBezTo>
                    <a:pt x="332" y="266"/>
                    <a:pt x="335" y="262"/>
                    <a:pt x="339" y="262"/>
                  </a:cubicBezTo>
                  <a:cubicBezTo>
                    <a:pt x="371" y="262"/>
                    <a:pt x="397" y="236"/>
                    <a:pt x="397" y="203"/>
                  </a:cubicBezTo>
                  <a:cubicBezTo>
                    <a:pt x="397" y="74"/>
                    <a:pt x="397" y="74"/>
                    <a:pt x="397" y="74"/>
                  </a:cubicBezTo>
                  <a:cubicBezTo>
                    <a:pt x="397" y="41"/>
                    <a:pt x="370" y="15"/>
                    <a:pt x="338" y="15"/>
                  </a:cubicBezTo>
                  <a:lnTo>
                    <a:pt x="74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31"/>
              <a:endParaRPr lang="en-US" dirty="0">
                <a:solidFill>
                  <a:srgbClr val="FFFFFF"/>
                </a:solidFill>
              </a:endParaRPr>
            </a:p>
          </p:txBody>
        </p:sp>
      </p:grpSp>
      <p:sp useBgFill="1">
        <p:nvSpPr>
          <p:cNvPr id="43" name="Top Mask"/>
          <p:cNvSpPr/>
          <p:nvPr userDrawn="1"/>
        </p:nvSpPr>
        <p:spPr bwMode="auto">
          <a:xfrm>
            <a:off x="5" y="9"/>
            <a:ext cx="12190413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44" name="Right Mask"/>
          <p:cNvSpPr/>
          <p:nvPr userDrawn="1"/>
        </p:nvSpPr>
        <p:spPr bwMode="auto">
          <a:xfrm>
            <a:off x="11174306" y="1630824"/>
            <a:ext cx="1016133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81998" y="3231975"/>
            <a:ext cx="6719176" cy="1232464"/>
          </a:xfrm>
        </p:spPr>
        <p:txBody>
          <a:bodyPr anchor="ctr">
            <a:noAutofit/>
          </a:bodyPr>
          <a:lstStyle>
            <a:lvl1pPr algn="l" defTabSz="91343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82010" y="5029230"/>
            <a:ext cx="6871597" cy="463255"/>
          </a:xfrm>
        </p:spPr>
        <p:txBody>
          <a:bodyPr>
            <a:noAutofit/>
          </a:bodyPr>
          <a:lstStyle>
            <a:lvl1pPr marL="0" indent="0" algn="l" defTabSz="913431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67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3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 useBgFill="1">
        <p:nvSpPr>
          <p:cNvPr id="45" name="Bottom Mask"/>
          <p:cNvSpPr/>
          <p:nvPr userDrawn="1"/>
        </p:nvSpPr>
        <p:spPr bwMode="auto">
          <a:xfrm>
            <a:off x="2" y="6010284"/>
            <a:ext cx="12190414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97674547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, &quot;special&quot; slid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4010553" y="3187145"/>
            <a:ext cx="7163734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4010553" y="1514475"/>
            <a:ext cx="7163734" cy="1499616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79600" y="1586587"/>
            <a:ext cx="5550464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3431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500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Demo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10" y="1514476"/>
            <a:ext cx="4010549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79607" y="5181630"/>
            <a:ext cx="6611407" cy="461665"/>
          </a:xfrm>
        </p:spPr>
        <p:txBody>
          <a:bodyPr>
            <a:noAutofit/>
          </a:bodyPr>
          <a:lstStyle>
            <a:lvl1pPr marL="0" indent="0" algn="l" defTabSz="913431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67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3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49600" y="1873011"/>
            <a:ext cx="841375" cy="84148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350" tIns="45677" rIns="91350" bIns="45677" numCol="1" anchor="t" anchorCtr="0" compatLnSpc="1">
            <a:prstTxWarp prst="textNoShape">
              <a:avLst/>
            </a:prstTxWarp>
          </a:bodyPr>
          <a:lstStyle/>
          <a:p>
            <a:pPr defTabSz="91343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206" y="1514475"/>
            <a:ext cx="2825864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8530"/>
          <a:stretch/>
        </p:blipFill>
        <p:spPr bwMode="auto">
          <a:xfrm>
            <a:off x="1401500" y="1742495"/>
            <a:ext cx="2067275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5" y="9"/>
            <a:ext cx="12190413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11174306" y="1630824"/>
            <a:ext cx="1016133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6" name="Demo Tile"/>
          <p:cNvGrpSpPr/>
          <p:nvPr userDrawn="1"/>
        </p:nvGrpSpPr>
        <p:grpSpPr>
          <a:xfrm>
            <a:off x="1017748" y="3187887"/>
            <a:ext cx="2827620" cy="2827252"/>
            <a:chOff x="1022073" y="-1135906"/>
            <a:chExt cx="2827252" cy="2827252"/>
          </a:xfrm>
        </p:grpSpPr>
        <p:sp>
          <p:nvSpPr>
            <p:cNvPr id="17" name="Rectangle 16"/>
            <p:cNvSpPr/>
            <p:nvPr/>
          </p:nvSpPr>
          <p:spPr bwMode="auto">
            <a:xfrm>
              <a:off x="1022073" y="-1135906"/>
              <a:ext cx="2827252" cy="2827252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167"/>
              <a:endParaRPr lang="en-US" sz="23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Light bulb Icon"/>
            <p:cNvSpPr>
              <a:spLocks noEditPoints="1"/>
            </p:cNvSpPr>
            <p:nvPr/>
          </p:nvSpPr>
          <p:spPr bwMode="auto">
            <a:xfrm>
              <a:off x="1945077" y="-620805"/>
              <a:ext cx="979488" cy="1797050"/>
            </a:xfrm>
            <a:custGeom>
              <a:avLst/>
              <a:gdLst>
                <a:gd name="T0" fmla="*/ 18 w 122"/>
                <a:gd name="T1" fmla="*/ 137 h 224"/>
                <a:gd name="T2" fmla="*/ 105 w 122"/>
                <a:gd name="T3" fmla="*/ 22 h 224"/>
                <a:gd name="T4" fmla="*/ 119 w 122"/>
                <a:gd name="T5" fmla="*/ 29 h 224"/>
                <a:gd name="T6" fmla="*/ 119 w 122"/>
                <a:gd name="T7" fmla="*/ 41 h 224"/>
                <a:gd name="T8" fmla="*/ 17 w 122"/>
                <a:gd name="T9" fmla="*/ 75 h 224"/>
                <a:gd name="T10" fmla="*/ 14 w 122"/>
                <a:gd name="T11" fmla="*/ 76 h 224"/>
                <a:gd name="T12" fmla="*/ 2 w 122"/>
                <a:gd name="T13" fmla="*/ 64 h 224"/>
                <a:gd name="T14" fmla="*/ 10 w 122"/>
                <a:gd name="T15" fmla="*/ 50 h 224"/>
                <a:gd name="T16" fmla="*/ 8 w 122"/>
                <a:gd name="T17" fmla="*/ 58 h 224"/>
                <a:gd name="T18" fmla="*/ 9 w 122"/>
                <a:gd name="T19" fmla="*/ 66 h 224"/>
                <a:gd name="T20" fmla="*/ 14 w 122"/>
                <a:gd name="T21" fmla="*/ 70 h 224"/>
                <a:gd name="T22" fmla="*/ 111 w 122"/>
                <a:gd name="T23" fmla="*/ 41 h 224"/>
                <a:gd name="T24" fmla="*/ 115 w 122"/>
                <a:gd name="T25" fmla="*/ 35 h 224"/>
                <a:gd name="T26" fmla="*/ 108 w 122"/>
                <a:gd name="T27" fmla="*/ 27 h 224"/>
                <a:gd name="T28" fmla="*/ 12 w 122"/>
                <a:gd name="T29" fmla="*/ 56 h 224"/>
                <a:gd name="T30" fmla="*/ 10 w 122"/>
                <a:gd name="T31" fmla="*/ 16 h 224"/>
                <a:gd name="T32" fmla="*/ 73 w 122"/>
                <a:gd name="T33" fmla="*/ 9 h 224"/>
                <a:gd name="T34" fmla="*/ 67 w 122"/>
                <a:gd name="T35" fmla="*/ 27 h 224"/>
                <a:gd name="T36" fmla="*/ 14 w 122"/>
                <a:gd name="T37" fmla="*/ 42 h 224"/>
                <a:gd name="T38" fmla="*/ 2 w 122"/>
                <a:gd name="T39" fmla="*/ 31 h 224"/>
                <a:gd name="T40" fmla="*/ 9 w 122"/>
                <a:gd name="T41" fmla="*/ 32 h 224"/>
                <a:gd name="T42" fmla="*/ 16 w 122"/>
                <a:gd name="T43" fmla="*/ 36 h 224"/>
                <a:gd name="T44" fmla="*/ 69 w 122"/>
                <a:gd name="T45" fmla="*/ 14 h 224"/>
                <a:gd name="T46" fmla="*/ 63 w 122"/>
                <a:gd name="T47" fmla="*/ 7 h 224"/>
                <a:gd name="T48" fmla="*/ 12 w 122"/>
                <a:gd name="T49" fmla="*/ 22 h 224"/>
                <a:gd name="T50" fmla="*/ 113 w 122"/>
                <a:gd name="T51" fmla="*/ 114 h 224"/>
                <a:gd name="T52" fmla="*/ 99 w 122"/>
                <a:gd name="T53" fmla="*/ 124 h 224"/>
                <a:gd name="T54" fmla="*/ 110 w 122"/>
                <a:gd name="T55" fmla="*/ 137 h 224"/>
                <a:gd name="T56" fmla="*/ 87 w 122"/>
                <a:gd name="T57" fmla="*/ 208 h 224"/>
                <a:gd name="T58" fmla="*/ 74 w 122"/>
                <a:gd name="T59" fmla="*/ 224 h 224"/>
                <a:gd name="T60" fmla="*/ 41 w 122"/>
                <a:gd name="T61" fmla="*/ 213 h 224"/>
                <a:gd name="T62" fmla="*/ 18 w 122"/>
                <a:gd name="T63" fmla="*/ 187 h 224"/>
                <a:gd name="T64" fmla="*/ 29 w 122"/>
                <a:gd name="T65" fmla="*/ 137 h 224"/>
                <a:gd name="T66" fmla="*/ 23 w 122"/>
                <a:gd name="T67" fmla="*/ 113 h 224"/>
                <a:gd name="T68" fmla="*/ 10 w 122"/>
                <a:gd name="T69" fmla="*/ 109 h 224"/>
                <a:gd name="T70" fmla="*/ 2 w 122"/>
                <a:gd name="T71" fmla="*/ 98 h 224"/>
                <a:gd name="T72" fmla="*/ 3 w 122"/>
                <a:gd name="T73" fmla="*/ 89 h 224"/>
                <a:gd name="T74" fmla="*/ 105 w 122"/>
                <a:gd name="T75" fmla="*/ 55 h 224"/>
                <a:gd name="T76" fmla="*/ 120 w 122"/>
                <a:gd name="T77" fmla="*/ 66 h 224"/>
                <a:gd name="T78" fmla="*/ 113 w 122"/>
                <a:gd name="T79" fmla="*/ 81 h 224"/>
                <a:gd name="T80" fmla="*/ 56 w 122"/>
                <a:gd name="T81" fmla="*/ 105 h 224"/>
                <a:gd name="T82" fmla="*/ 72 w 122"/>
                <a:gd name="T83" fmla="*/ 137 h 224"/>
                <a:gd name="T84" fmla="*/ 82 w 122"/>
                <a:gd name="T85" fmla="*/ 95 h 224"/>
                <a:gd name="T86" fmla="*/ 119 w 122"/>
                <a:gd name="T87" fmla="*/ 96 h 224"/>
                <a:gd name="T88" fmla="*/ 113 w 122"/>
                <a:gd name="T89" fmla="*/ 114 h 224"/>
                <a:gd name="T90" fmla="*/ 111 w 122"/>
                <a:gd name="T91" fmla="*/ 75 h 224"/>
                <a:gd name="T92" fmla="*/ 115 w 122"/>
                <a:gd name="T93" fmla="*/ 68 h 224"/>
                <a:gd name="T94" fmla="*/ 108 w 122"/>
                <a:gd name="T95" fmla="*/ 61 h 224"/>
                <a:gd name="T96" fmla="*/ 25 w 122"/>
                <a:gd name="T97" fmla="*/ 86 h 224"/>
                <a:gd name="T98" fmla="*/ 12 w 122"/>
                <a:gd name="T99" fmla="*/ 89 h 224"/>
                <a:gd name="T100" fmla="*/ 8 w 122"/>
                <a:gd name="T101" fmla="*/ 92 h 224"/>
                <a:gd name="T102" fmla="*/ 8 w 122"/>
                <a:gd name="T103" fmla="*/ 96 h 224"/>
                <a:gd name="T104" fmla="*/ 12 w 122"/>
                <a:gd name="T105" fmla="*/ 103 h 224"/>
                <a:gd name="T106" fmla="*/ 25 w 122"/>
                <a:gd name="T107" fmla="*/ 107 h 224"/>
                <a:gd name="T108" fmla="*/ 35 w 122"/>
                <a:gd name="T109" fmla="*/ 120 h 224"/>
                <a:gd name="T110" fmla="*/ 50 w 122"/>
                <a:gd name="T111" fmla="*/ 137 h 224"/>
                <a:gd name="T112" fmla="*/ 48 w 122"/>
                <a:gd name="T113" fmla="*/ 100 h 224"/>
                <a:gd name="T114" fmla="*/ 49 w 122"/>
                <a:gd name="T115" fmla="*/ 93 h 224"/>
                <a:gd name="T116" fmla="*/ 113 w 122"/>
                <a:gd name="T117" fmla="*/ 98 h 224"/>
                <a:gd name="T118" fmla="*/ 84 w 122"/>
                <a:gd name="T119" fmla="*/ 101 h 224"/>
                <a:gd name="T120" fmla="*/ 78 w 122"/>
                <a:gd name="T121" fmla="*/ 137 h 224"/>
                <a:gd name="T122" fmla="*/ 93 w 122"/>
                <a:gd name="T123" fmla="*/ 124 h 224"/>
                <a:gd name="T124" fmla="*/ 111 w 122"/>
                <a:gd name="T125" fmla="*/ 108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2" h="224">
                  <a:moveTo>
                    <a:pt x="18" y="137"/>
                  </a:moveTo>
                  <a:cubicBezTo>
                    <a:pt x="18" y="137"/>
                    <a:pt x="18" y="137"/>
                    <a:pt x="18" y="137"/>
                  </a:cubicBezTo>
                  <a:moveTo>
                    <a:pt x="10" y="50"/>
                  </a:moveTo>
                  <a:cubicBezTo>
                    <a:pt x="105" y="22"/>
                    <a:pt x="105" y="22"/>
                    <a:pt x="105" y="22"/>
                  </a:cubicBezTo>
                  <a:cubicBezTo>
                    <a:pt x="106" y="21"/>
                    <a:pt x="107" y="21"/>
                    <a:pt x="108" y="21"/>
                  </a:cubicBezTo>
                  <a:cubicBezTo>
                    <a:pt x="113" y="21"/>
                    <a:pt x="118" y="24"/>
                    <a:pt x="119" y="29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21" y="36"/>
                    <a:pt x="121" y="39"/>
                    <a:pt x="119" y="41"/>
                  </a:cubicBezTo>
                  <a:cubicBezTo>
                    <a:pt x="118" y="44"/>
                    <a:pt x="116" y="46"/>
                    <a:pt x="113" y="47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6" y="76"/>
                    <a:pt x="15" y="76"/>
                    <a:pt x="14" y="76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9" y="76"/>
                    <a:pt x="5" y="73"/>
                    <a:pt x="3" y="68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1" y="61"/>
                    <a:pt x="2" y="58"/>
                    <a:pt x="3" y="56"/>
                  </a:cubicBezTo>
                  <a:cubicBezTo>
                    <a:pt x="5" y="53"/>
                    <a:pt x="7" y="51"/>
                    <a:pt x="10" y="50"/>
                  </a:cubicBezTo>
                  <a:close/>
                  <a:moveTo>
                    <a:pt x="12" y="56"/>
                  </a:moveTo>
                  <a:cubicBezTo>
                    <a:pt x="10" y="56"/>
                    <a:pt x="9" y="57"/>
                    <a:pt x="8" y="58"/>
                  </a:cubicBezTo>
                  <a:cubicBezTo>
                    <a:pt x="8" y="60"/>
                    <a:pt x="8" y="61"/>
                    <a:pt x="8" y="62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10" y="68"/>
                    <a:pt x="12" y="70"/>
                    <a:pt x="14" y="70"/>
                  </a:cubicBezTo>
                  <a:cubicBezTo>
                    <a:pt x="14" y="70"/>
                    <a:pt x="14" y="70"/>
                    <a:pt x="14" y="70"/>
                  </a:cubicBezTo>
                  <a:cubicBezTo>
                    <a:pt x="15" y="70"/>
                    <a:pt x="15" y="70"/>
                    <a:pt x="16" y="70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2" y="41"/>
                    <a:pt x="113" y="40"/>
                    <a:pt x="114" y="39"/>
                  </a:cubicBezTo>
                  <a:cubicBezTo>
                    <a:pt x="115" y="37"/>
                    <a:pt x="115" y="36"/>
                    <a:pt x="115" y="35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3" y="29"/>
                    <a:pt x="111" y="27"/>
                    <a:pt x="108" y="27"/>
                  </a:cubicBezTo>
                  <a:cubicBezTo>
                    <a:pt x="108" y="27"/>
                    <a:pt x="107" y="27"/>
                    <a:pt x="107" y="27"/>
                  </a:cubicBezTo>
                  <a:lnTo>
                    <a:pt x="12" y="56"/>
                  </a:lnTo>
                  <a:close/>
                  <a:moveTo>
                    <a:pt x="2" y="31"/>
                  </a:moveTo>
                  <a:cubicBezTo>
                    <a:pt x="0" y="25"/>
                    <a:pt x="4" y="18"/>
                    <a:pt x="10" y="16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5" y="0"/>
                    <a:pt x="72" y="3"/>
                    <a:pt x="73" y="9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6" y="18"/>
                    <a:pt x="73" y="25"/>
                    <a:pt x="67" y="27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6" y="42"/>
                    <a:pt x="15" y="42"/>
                    <a:pt x="14" y="42"/>
                  </a:cubicBezTo>
                  <a:cubicBezTo>
                    <a:pt x="9" y="42"/>
                    <a:pt x="5" y="39"/>
                    <a:pt x="3" y="34"/>
                  </a:cubicBezTo>
                  <a:lnTo>
                    <a:pt x="2" y="31"/>
                  </a:lnTo>
                  <a:close/>
                  <a:moveTo>
                    <a:pt x="8" y="29"/>
                  </a:moveTo>
                  <a:cubicBezTo>
                    <a:pt x="9" y="32"/>
                    <a:pt x="9" y="32"/>
                    <a:pt x="9" y="32"/>
                  </a:cubicBezTo>
                  <a:cubicBezTo>
                    <a:pt x="10" y="35"/>
                    <a:pt x="12" y="36"/>
                    <a:pt x="14" y="36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8" y="20"/>
                    <a:pt x="70" y="17"/>
                    <a:pt x="69" y="14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7" y="8"/>
                    <a:pt x="65" y="7"/>
                    <a:pt x="63" y="7"/>
                  </a:cubicBezTo>
                  <a:cubicBezTo>
                    <a:pt x="62" y="7"/>
                    <a:pt x="62" y="7"/>
                    <a:pt x="61" y="7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7" y="26"/>
                    <a:pt x="8" y="29"/>
                  </a:cubicBezTo>
                  <a:close/>
                  <a:moveTo>
                    <a:pt x="113" y="114"/>
                  </a:moveTo>
                  <a:cubicBezTo>
                    <a:pt x="105" y="116"/>
                    <a:pt x="105" y="116"/>
                    <a:pt x="105" y="116"/>
                  </a:cubicBezTo>
                  <a:cubicBezTo>
                    <a:pt x="102" y="117"/>
                    <a:pt x="99" y="121"/>
                    <a:pt x="99" y="124"/>
                  </a:cubicBezTo>
                  <a:cubicBezTo>
                    <a:pt x="99" y="137"/>
                    <a:pt x="99" y="137"/>
                    <a:pt x="99" y="137"/>
                  </a:cubicBezTo>
                  <a:cubicBezTo>
                    <a:pt x="110" y="137"/>
                    <a:pt x="110" y="137"/>
                    <a:pt x="110" y="137"/>
                  </a:cubicBezTo>
                  <a:cubicBezTo>
                    <a:pt x="110" y="187"/>
                    <a:pt x="110" y="187"/>
                    <a:pt x="110" y="187"/>
                  </a:cubicBezTo>
                  <a:cubicBezTo>
                    <a:pt x="110" y="198"/>
                    <a:pt x="100" y="207"/>
                    <a:pt x="87" y="208"/>
                  </a:cubicBezTo>
                  <a:cubicBezTo>
                    <a:pt x="87" y="213"/>
                    <a:pt x="87" y="213"/>
                    <a:pt x="87" y="213"/>
                  </a:cubicBezTo>
                  <a:cubicBezTo>
                    <a:pt x="87" y="219"/>
                    <a:pt x="81" y="224"/>
                    <a:pt x="74" y="224"/>
                  </a:cubicBezTo>
                  <a:cubicBezTo>
                    <a:pt x="54" y="224"/>
                    <a:pt x="54" y="224"/>
                    <a:pt x="54" y="224"/>
                  </a:cubicBezTo>
                  <a:cubicBezTo>
                    <a:pt x="47" y="224"/>
                    <a:pt x="41" y="219"/>
                    <a:pt x="41" y="213"/>
                  </a:cubicBezTo>
                  <a:cubicBezTo>
                    <a:pt x="41" y="208"/>
                    <a:pt x="41" y="208"/>
                    <a:pt x="41" y="208"/>
                  </a:cubicBezTo>
                  <a:cubicBezTo>
                    <a:pt x="28" y="207"/>
                    <a:pt x="18" y="198"/>
                    <a:pt x="18" y="187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29" y="137"/>
                    <a:pt x="29" y="137"/>
                    <a:pt x="29" y="137"/>
                  </a:cubicBezTo>
                  <a:cubicBezTo>
                    <a:pt x="29" y="120"/>
                    <a:pt x="29" y="120"/>
                    <a:pt x="29" y="120"/>
                  </a:cubicBezTo>
                  <a:cubicBezTo>
                    <a:pt x="29" y="117"/>
                    <a:pt x="26" y="113"/>
                    <a:pt x="23" y="113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7" y="108"/>
                    <a:pt x="4" y="105"/>
                    <a:pt x="3" y="102"/>
                  </a:cubicBezTo>
                  <a:cubicBezTo>
                    <a:pt x="2" y="98"/>
                    <a:pt x="2" y="98"/>
                    <a:pt x="2" y="98"/>
                  </a:cubicBezTo>
                  <a:cubicBezTo>
                    <a:pt x="2" y="97"/>
                    <a:pt x="2" y="97"/>
                    <a:pt x="2" y="96"/>
                  </a:cubicBezTo>
                  <a:cubicBezTo>
                    <a:pt x="2" y="94"/>
                    <a:pt x="2" y="91"/>
                    <a:pt x="3" y="89"/>
                  </a:cubicBezTo>
                  <a:cubicBezTo>
                    <a:pt x="5" y="87"/>
                    <a:pt x="7" y="85"/>
                    <a:pt x="10" y="84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11" y="54"/>
                    <a:pt x="118" y="57"/>
                    <a:pt x="119" y="6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1" y="69"/>
                    <a:pt x="121" y="72"/>
                    <a:pt x="119" y="75"/>
                  </a:cubicBezTo>
                  <a:cubicBezTo>
                    <a:pt x="118" y="78"/>
                    <a:pt x="116" y="80"/>
                    <a:pt x="113" y="81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5" y="100"/>
                    <a:pt x="56" y="103"/>
                    <a:pt x="56" y="105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72" y="137"/>
                    <a:pt x="72" y="137"/>
                    <a:pt x="72" y="137"/>
                  </a:cubicBezTo>
                  <a:cubicBezTo>
                    <a:pt x="72" y="109"/>
                    <a:pt x="72" y="109"/>
                    <a:pt x="72" y="109"/>
                  </a:cubicBezTo>
                  <a:cubicBezTo>
                    <a:pt x="72" y="103"/>
                    <a:pt x="77" y="97"/>
                    <a:pt x="82" y="95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11" y="87"/>
                    <a:pt x="118" y="91"/>
                    <a:pt x="119" y="96"/>
                  </a:cubicBezTo>
                  <a:cubicBezTo>
                    <a:pt x="120" y="100"/>
                    <a:pt x="120" y="100"/>
                    <a:pt x="120" y="100"/>
                  </a:cubicBezTo>
                  <a:cubicBezTo>
                    <a:pt x="122" y="106"/>
                    <a:pt x="119" y="112"/>
                    <a:pt x="113" y="114"/>
                  </a:cubicBezTo>
                  <a:close/>
                  <a:moveTo>
                    <a:pt x="49" y="93"/>
                  </a:moveTo>
                  <a:cubicBezTo>
                    <a:pt x="111" y="75"/>
                    <a:pt x="111" y="75"/>
                    <a:pt x="111" y="75"/>
                  </a:cubicBezTo>
                  <a:cubicBezTo>
                    <a:pt x="112" y="74"/>
                    <a:pt x="113" y="74"/>
                    <a:pt x="114" y="72"/>
                  </a:cubicBezTo>
                  <a:cubicBezTo>
                    <a:pt x="115" y="71"/>
                    <a:pt x="115" y="70"/>
                    <a:pt x="115" y="68"/>
                  </a:cubicBezTo>
                  <a:cubicBezTo>
                    <a:pt x="113" y="65"/>
                    <a:pt x="113" y="65"/>
                    <a:pt x="113" y="65"/>
                  </a:cubicBezTo>
                  <a:cubicBezTo>
                    <a:pt x="113" y="62"/>
                    <a:pt x="111" y="61"/>
                    <a:pt x="108" y="61"/>
                  </a:cubicBezTo>
                  <a:cubicBezTo>
                    <a:pt x="108" y="61"/>
                    <a:pt x="107" y="61"/>
                    <a:pt x="107" y="61"/>
                  </a:cubicBezTo>
                  <a:cubicBezTo>
                    <a:pt x="25" y="86"/>
                    <a:pt x="25" y="86"/>
                    <a:pt x="25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0" y="90"/>
                    <a:pt x="9" y="91"/>
                    <a:pt x="8" y="92"/>
                  </a:cubicBezTo>
                  <a:cubicBezTo>
                    <a:pt x="8" y="93"/>
                    <a:pt x="8" y="95"/>
                    <a:pt x="8" y="96"/>
                  </a:cubicBezTo>
                  <a:cubicBezTo>
                    <a:pt x="8" y="96"/>
                    <a:pt x="8" y="96"/>
                    <a:pt x="8" y="96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10" y="101"/>
                    <a:pt x="11" y="103"/>
                    <a:pt x="12" y="103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31" y="109"/>
                    <a:pt x="35" y="115"/>
                    <a:pt x="35" y="120"/>
                  </a:cubicBezTo>
                  <a:cubicBezTo>
                    <a:pt x="35" y="137"/>
                    <a:pt x="35" y="137"/>
                    <a:pt x="35" y="137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4"/>
                    <a:pt x="49" y="102"/>
                    <a:pt x="48" y="100"/>
                  </a:cubicBezTo>
                  <a:cubicBezTo>
                    <a:pt x="47" y="99"/>
                    <a:pt x="45" y="98"/>
                    <a:pt x="44" y="97"/>
                  </a:cubicBezTo>
                  <a:cubicBezTo>
                    <a:pt x="44" y="97"/>
                    <a:pt x="40" y="96"/>
                    <a:pt x="49" y="93"/>
                  </a:cubicBezTo>
                  <a:close/>
                  <a:moveTo>
                    <a:pt x="115" y="102"/>
                  </a:moveTo>
                  <a:cubicBezTo>
                    <a:pt x="113" y="98"/>
                    <a:pt x="113" y="98"/>
                    <a:pt x="113" y="98"/>
                  </a:cubicBezTo>
                  <a:cubicBezTo>
                    <a:pt x="113" y="95"/>
                    <a:pt x="110" y="94"/>
                    <a:pt x="107" y="95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81" y="102"/>
                    <a:pt x="78" y="106"/>
                    <a:pt x="78" y="109"/>
                  </a:cubicBezTo>
                  <a:cubicBezTo>
                    <a:pt x="78" y="137"/>
                    <a:pt x="78" y="137"/>
                    <a:pt x="78" y="137"/>
                  </a:cubicBezTo>
                  <a:cubicBezTo>
                    <a:pt x="93" y="137"/>
                    <a:pt x="93" y="137"/>
                    <a:pt x="93" y="137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18"/>
                    <a:pt x="97" y="112"/>
                    <a:pt x="103" y="111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4" y="108"/>
                    <a:pt x="115" y="105"/>
                    <a:pt x="115" y="1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31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79605" y="3187152"/>
            <a:ext cx="6611407" cy="1523495"/>
          </a:xfrm>
        </p:spPr>
        <p:txBody>
          <a:bodyPr anchor="ctr" anchorCtr="0">
            <a:noAutofit/>
          </a:bodyPr>
          <a:lstStyle>
            <a:lvl1pPr algn="l" defTabSz="91343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6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4010564" y="6010284"/>
            <a:ext cx="8179864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4562609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, &quot;special&quot; slid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4010553" y="3187145"/>
            <a:ext cx="7163734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4010553" y="1514475"/>
            <a:ext cx="7163734" cy="1499616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79600" y="1586587"/>
            <a:ext cx="5550464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3431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500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Video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10" y="1514476"/>
            <a:ext cx="4010549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79607" y="5181630"/>
            <a:ext cx="6611407" cy="461665"/>
          </a:xfrm>
        </p:spPr>
        <p:txBody>
          <a:bodyPr>
            <a:noAutofit/>
          </a:bodyPr>
          <a:lstStyle>
            <a:lvl1pPr marL="0" indent="0" algn="l" defTabSz="913431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67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3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49600" y="1873011"/>
            <a:ext cx="841375" cy="84148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350" tIns="45677" rIns="91350" bIns="45677" numCol="1" anchor="t" anchorCtr="0" compatLnSpc="1">
            <a:prstTxWarp prst="textNoShape">
              <a:avLst/>
            </a:prstTxWarp>
          </a:bodyPr>
          <a:lstStyle/>
          <a:p>
            <a:pPr defTabSz="91343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206" y="1514475"/>
            <a:ext cx="2825864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8530"/>
          <a:stretch/>
        </p:blipFill>
        <p:spPr bwMode="auto">
          <a:xfrm>
            <a:off x="1401500" y="1742495"/>
            <a:ext cx="2067275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5" y="9"/>
            <a:ext cx="12190413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11174306" y="1630824"/>
            <a:ext cx="1016133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79605" y="3187152"/>
            <a:ext cx="6611407" cy="1523495"/>
          </a:xfrm>
        </p:spPr>
        <p:txBody>
          <a:bodyPr anchor="ctr" anchorCtr="0">
            <a:noAutofit/>
          </a:bodyPr>
          <a:lstStyle>
            <a:lvl1pPr algn="l" defTabSz="91343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5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4010564" y="6010284"/>
            <a:ext cx="8179864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9" name="Green Tile"/>
          <p:cNvGrpSpPr/>
          <p:nvPr userDrawn="1"/>
        </p:nvGrpSpPr>
        <p:grpSpPr>
          <a:xfrm>
            <a:off x="1015991" y="3187139"/>
            <a:ext cx="2827620" cy="2827252"/>
            <a:chOff x="-2619354" y="-790581"/>
            <a:chExt cx="2827252" cy="2827252"/>
          </a:xfrm>
        </p:grpSpPr>
        <p:sp>
          <p:nvSpPr>
            <p:cNvPr id="20" name="Rectangle 19"/>
            <p:cNvSpPr/>
            <p:nvPr/>
          </p:nvSpPr>
          <p:spPr bwMode="auto">
            <a:xfrm>
              <a:off x="-2619354" y="-790581"/>
              <a:ext cx="2827252" cy="2827252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167"/>
              <a:endParaRPr lang="en-US" sz="23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Play Icon"/>
            <p:cNvSpPr>
              <a:spLocks noEditPoints="1"/>
            </p:cNvSpPr>
            <p:nvPr/>
          </p:nvSpPr>
          <p:spPr bwMode="auto">
            <a:xfrm>
              <a:off x="-2097903" y="-269875"/>
              <a:ext cx="1784350" cy="1784350"/>
            </a:xfrm>
            <a:custGeom>
              <a:avLst/>
              <a:gdLst>
                <a:gd name="T0" fmla="*/ 168 w 224"/>
                <a:gd name="T1" fmla="*/ 112 h 224"/>
                <a:gd name="T2" fmla="*/ 86 w 224"/>
                <a:gd name="T3" fmla="*/ 173 h 224"/>
                <a:gd name="T4" fmla="*/ 86 w 224"/>
                <a:gd name="T5" fmla="*/ 50 h 224"/>
                <a:gd name="T6" fmla="*/ 168 w 224"/>
                <a:gd name="T7" fmla="*/ 112 h 224"/>
                <a:gd name="T8" fmla="*/ 168 w 224"/>
                <a:gd name="T9" fmla="*/ 112 h 224"/>
                <a:gd name="T10" fmla="*/ 112 w 224"/>
                <a:gd name="T11" fmla="*/ 0 h 224"/>
                <a:gd name="T12" fmla="*/ 224 w 224"/>
                <a:gd name="T13" fmla="*/ 112 h 224"/>
                <a:gd name="T14" fmla="*/ 112 w 224"/>
                <a:gd name="T15" fmla="*/ 224 h 224"/>
                <a:gd name="T16" fmla="*/ 0 w 224"/>
                <a:gd name="T17" fmla="*/ 112 h 224"/>
                <a:gd name="T18" fmla="*/ 112 w 224"/>
                <a:gd name="T19" fmla="*/ 0 h 224"/>
                <a:gd name="T20" fmla="*/ 112 w 224"/>
                <a:gd name="T21" fmla="*/ 216 h 224"/>
                <a:gd name="T22" fmla="*/ 216 w 224"/>
                <a:gd name="T23" fmla="*/ 112 h 224"/>
                <a:gd name="T24" fmla="*/ 112 w 224"/>
                <a:gd name="T25" fmla="*/ 8 h 224"/>
                <a:gd name="T26" fmla="*/ 8 w 224"/>
                <a:gd name="T27" fmla="*/ 112 h 224"/>
                <a:gd name="T28" fmla="*/ 112 w 224"/>
                <a:gd name="T29" fmla="*/ 216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" h="224">
                  <a:moveTo>
                    <a:pt x="168" y="112"/>
                  </a:moveTo>
                  <a:cubicBezTo>
                    <a:pt x="86" y="173"/>
                    <a:pt x="86" y="173"/>
                    <a:pt x="86" y="173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168" y="112"/>
                    <a:pt x="168" y="112"/>
                    <a:pt x="168" y="112"/>
                  </a:cubicBezTo>
                  <a:cubicBezTo>
                    <a:pt x="168" y="112"/>
                    <a:pt x="168" y="112"/>
                    <a:pt x="168" y="112"/>
                  </a:cubicBezTo>
                  <a:close/>
                  <a:moveTo>
                    <a:pt x="112" y="0"/>
                  </a:moveTo>
                  <a:cubicBezTo>
                    <a:pt x="174" y="0"/>
                    <a:pt x="224" y="50"/>
                    <a:pt x="224" y="112"/>
                  </a:cubicBezTo>
                  <a:cubicBezTo>
                    <a:pt x="224" y="174"/>
                    <a:pt x="174" y="224"/>
                    <a:pt x="112" y="224"/>
                  </a:cubicBezTo>
                  <a:cubicBezTo>
                    <a:pt x="51" y="224"/>
                    <a:pt x="0" y="174"/>
                    <a:pt x="0" y="112"/>
                  </a:cubicBezTo>
                  <a:cubicBezTo>
                    <a:pt x="0" y="50"/>
                    <a:pt x="51" y="0"/>
                    <a:pt x="112" y="0"/>
                  </a:cubicBezTo>
                  <a:moveTo>
                    <a:pt x="112" y="216"/>
                  </a:moveTo>
                  <a:cubicBezTo>
                    <a:pt x="170" y="216"/>
                    <a:pt x="216" y="169"/>
                    <a:pt x="216" y="112"/>
                  </a:cubicBezTo>
                  <a:cubicBezTo>
                    <a:pt x="216" y="54"/>
                    <a:pt x="170" y="8"/>
                    <a:pt x="112" y="8"/>
                  </a:cubicBezTo>
                  <a:cubicBezTo>
                    <a:pt x="55" y="8"/>
                    <a:pt x="8" y="54"/>
                    <a:pt x="8" y="112"/>
                  </a:cubicBezTo>
                  <a:cubicBezTo>
                    <a:pt x="8" y="169"/>
                    <a:pt x="55" y="216"/>
                    <a:pt x="112" y="2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31"/>
              <a:endParaRPr lang="en-US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02239918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7/1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6463" y="6356368"/>
            <a:ext cx="2844430" cy="365125"/>
          </a:xfrm>
          <a:prstGeom prst="rect">
            <a:avLst/>
          </a:prstGeom>
        </p:spPr>
        <p:txBody>
          <a:bodyPr lIns="91242" tIns="45618" rIns="91242" bIns="45618"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ner, &quot;special&quot; slid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4010553" y="3187145"/>
            <a:ext cx="7163734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4010553" y="1514475"/>
            <a:ext cx="7163734" cy="149961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79600" y="1586587"/>
            <a:ext cx="5550464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3431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500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Partner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10" y="1514476"/>
            <a:ext cx="4010549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79607" y="5181630"/>
            <a:ext cx="6611407" cy="461665"/>
          </a:xfrm>
        </p:spPr>
        <p:txBody>
          <a:bodyPr>
            <a:noAutofit/>
          </a:bodyPr>
          <a:lstStyle>
            <a:lvl1pPr marL="0" indent="0" algn="l" defTabSz="913431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67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3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49600" y="1873011"/>
            <a:ext cx="841375" cy="84148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350" tIns="45677" rIns="91350" bIns="45677" numCol="1" anchor="t" anchorCtr="0" compatLnSpc="1">
            <a:prstTxWarp prst="textNoShape">
              <a:avLst/>
            </a:prstTxWarp>
          </a:bodyPr>
          <a:lstStyle/>
          <a:p>
            <a:pPr defTabSz="91343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206" y="1514475"/>
            <a:ext cx="2825864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8530"/>
          <a:stretch/>
        </p:blipFill>
        <p:spPr bwMode="auto">
          <a:xfrm>
            <a:off x="1401500" y="1742495"/>
            <a:ext cx="2067275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5" y="9"/>
            <a:ext cx="12190413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11174306" y="1630824"/>
            <a:ext cx="1016133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79605" y="3187152"/>
            <a:ext cx="6611407" cy="1523495"/>
          </a:xfrm>
        </p:spPr>
        <p:txBody>
          <a:bodyPr anchor="ctr" anchorCtr="0">
            <a:noAutofit/>
          </a:bodyPr>
          <a:lstStyle>
            <a:lvl1pPr algn="l" defTabSz="91343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4010564" y="6010284"/>
            <a:ext cx="8179864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7" name="Blue Tile"/>
          <p:cNvGrpSpPr/>
          <p:nvPr userDrawn="1"/>
        </p:nvGrpSpPr>
        <p:grpSpPr>
          <a:xfrm>
            <a:off x="1015991" y="3189727"/>
            <a:ext cx="2827620" cy="2827252"/>
            <a:chOff x="1071620" y="3044261"/>
            <a:chExt cx="1325880" cy="1325880"/>
          </a:xfrm>
        </p:grpSpPr>
        <p:sp>
          <p:nvSpPr>
            <p:cNvPr id="18" name="Rectangle 17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167"/>
              <a:endParaRPr lang="en-US" sz="23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Freeform 13"/>
            <p:cNvSpPr>
              <a:spLocks noEditPoints="1"/>
            </p:cNvSpPr>
            <p:nvPr/>
          </p:nvSpPr>
          <p:spPr bwMode="auto">
            <a:xfrm>
              <a:off x="1316254" y="3284926"/>
              <a:ext cx="836612" cy="841375"/>
            </a:xfrm>
            <a:custGeom>
              <a:avLst/>
              <a:gdLst>
                <a:gd name="T0" fmla="*/ 183 w 223"/>
                <a:gd name="T1" fmla="*/ 108 h 224"/>
                <a:gd name="T2" fmla="*/ 154 w 223"/>
                <a:gd name="T3" fmla="*/ 120 h 224"/>
                <a:gd name="T4" fmla="*/ 135 w 223"/>
                <a:gd name="T5" fmla="*/ 101 h 224"/>
                <a:gd name="T6" fmla="*/ 154 w 223"/>
                <a:gd name="T7" fmla="*/ 59 h 224"/>
                <a:gd name="T8" fmla="*/ 96 w 223"/>
                <a:gd name="T9" fmla="*/ 0 h 224"/>
                <a:gd name="T10" fmla="*/ 37 w 223"/>
                <a:gd name="T11" fmla="*/ 59 h 224"/>
                <a:gd name="T12" fmla="*/ 64 w 223"/>
                <a:gd name="T13" fmla="*/ 107 h 224"/>
                <a:gd name="T14" fmla="*/ 52 w 223"/>
                <a:gd name="T15" fmla="*/ 145 h 224"/>
                <a:gd name="T16" fmla="*/ 41 w 223"/>
                <a:gd name="T17" fmla="*/ 143 h 224"/>
                <a:gd name="T18" fmla="*/ 0 w 223"/>
                <a:gd name="T19" fmla="*/ 183 h 224"/>
                <a:gd name="T20" fmla="*/ 41 w 223"/>
                <a:gd name="T21" fmla="*/ 224 h 224"/>
                <a:gd name="T22" fmla="*/ 81 w 223"/>
                <a:gd name="T23" fmla="*/ 183 h 224"/>
                <a:gd name="T24" fmla="*/ 60 w 223"/>
                <a:gd name="T25" fmla="*/ 148 h 224"/>
                <a:gd name="T26" fmla="*/ 71 w 223"/>
                <a:gd name="T27" fmla="*/ 111 h 224"/>
                <a:gd name="T28" fmla="*/ 96 w 223"/>
                <a:gd name="T29" fmla="*/ 117 h 224"/>
                <a:gd name="T30" fmla="*/ 129 w 223"/>
                <a:gd name="T31" fmla="*/ 106 h 224"/>
                <a:gd name="T32" fmla="*/ 149 w 223"/>
                <a:gd name="T33" fmla="*/ 126 h 224"/>
                <a:gd name="T34" fmla="*/ 143 w 223"/>
                <a:gd name="T35" fmla="*/ 148 h 224"/>
                <a:gd name="T36" fmla="*/ 183 w 223"/>
                <a:gd name="T37" fmla="*/ 189 h 224"/>
                <a:gd name="T38" fmla="*/ 223 w 223"/>
                <a:gd name="T39" fmla="*/ 148 h 224"/>
                <a:gd name="T40" fmla="*/ 183 w 223"/>
                <a:gd name="T41" fmla="*/ 108 h 224"/>
                <a:gd name="T42" fmla="*/ 73 w 223"/>
                <a:gd name="T43" fmla="*/ 183 h 224"/>
                <a:gd name="T44" fmla="*/ 41 w 223"/>
                <a:gd name="T45" fmla="*/ 216 h 224"/>
                <a:gd name="T46" fmla="*/ 8 w 223"/>
                <a:gd name="T47" fmla="*/ 183 h 224"/>
                <a:gd name="T48" fmla="*/ 41 w 223"/>
                <a:gd name="T49" fmla="*/ 151 h 224"/>
                <a:gd name="T50" fmla="*/ 73 w 223"/>
                <a:gd name="T51" fmla="*/ 183 h 224"/>
                <a:gd name="T52" fmla="*/ 45 w 223"/>
                <a:gd name="T53" fmla="*/ 59 h 224"/>
                <a:gd name="T54" fmla="*/ 96 w 223"/>
                <a:gd name="T55" fmla="*/ 8 h 224"/>
                <a:gd name="T56" fmla="*/ 146 w 223"/>
                <a:gd name="T57" fmla="*/ 59 h 224"/>
                <a:gd name="T58" fmla="*/ 96 w 223"/>
                <a:gd name="T59" fmla="*/ 109 h 224"/>
                <a:gd name="T60" fmla="*/ 45 w 223"/>
                <a:gd name="T61" fmla="*/ 59 h 224"/>
                <a:gd name="T62" fmla="*/ 183 w 223"/>
                <a:gd name="T63" fmla="*/ 181 h 224"/>
                <a:gd name="T64" fmla="*/ 151 w 223"/>
                <a:gd name="T65" fmla="*/ 148 h 224"/>
                <a:gd name="T66" fmla="*/ 183 w 223"/>
                <a:gd name="T67" fmla="*/ 116 h 224"/>
                <a:gd name="T68" fmla="*/ 215 w 223"/>
                <a:gd name="T69" fmla="*/ 148 h 224"/>
                <a:gd name="T70" fmla="*/ 183 w 223"/>
                <a:gd name="T71" fmla="*/ 18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31"/>
              <a:endParaRPr lang="en-US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40593167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er, &quot;special&quot; slid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4010553" y="3187145"/>
            <a:ext cx="7163734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4010553" y="1514475"/>
            <a:ext cx="7163734" cy="1499616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79600" y="1586587"/>
            <a:ext cx="5550464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3431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500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Customer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10" y="1514476"/>
            <a:ext cx="4010549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79607" y="5181630"/>
            <a:ext cx="6611407" cy="461665"/>
          </a:xfrm>
        </p:spPr>
        <p:txBody>
          <a:bodyPr>
            <a:noAutofit/>
          </a:bodyPr>
          <a:lstStyle>
            <a:lvl1pPr marL="0" indent="0" algn="l" defTabSz="913431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67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3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49600" y="1873011"/>
            <a:ext cx="841375" cy="84148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350" tIns="45677" rIns="91350" bIns="45677" numCol="1" anchor="t" anchorCtr="0" compatLnSpc="1">
            <a:prstTxWarp prst="textNoShape">
              <a:avLst/>
            </a:prstTxWarp>
          </a:bodyPr>
          <a:lstStyle/>
          <a:p>
            <a:pPr defTabSz="91343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206" y="1514475"/>
            <a:ext cx="2825864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8530"/>
          <a:stretch/>
        </p:blipFill>
        <p:spPr bwMode="auto">
          <a:xfrm>
            <a:off x="1401500" y="1742495"/>
            <a:ext cx="2067275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5" y="9"/>
            <a:ext cx="12190413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11174306" y="1630824"/>
            <a:ext cx="1016133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79605" y="3187152"/>
            <a:ext cx="6611407" cy="1523495"/>
          </a:xfrm>
        </p:spPr>
        <p:txBody>
          <a:bodyPr anchor="ctr" anchorCtr="0">
            <a:noAutofit/>
          </a:bodyPr>
          <a:lstStyle>
            <a:lvl1pPr algn="l" defTabSz="91343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2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4010564" y="6010284"/>
            <a:ext cx="8179864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9" name="Purple Tile"/>
          <p:cNvGrpSpPr/>
          <p:nvPr userDrawn="1"/>
        </p:nvGrpSpPr>
        <p:grpSpPr>
          <a:xfrm>
            <a:off x="1017748" y="3187139"/>
            <a:ext cx="2827620" cy="2827252"/>
            <a:chOff x="1022073" y="-1624298"/>
            <a:chExt cx="2827252" cy="2827252"/>
          </a:xfrm>
        </p:grpSpPr>
        <p:sp>
          <p:nvSpPr>
            <p:cNvPr id="20" name="Rectangle 19"/>
            <p:cNvSpPr/>
            <p:nvPr/>
          </p:nvSpPr>
          <p:spPr bwMode="auto">
            <a:xfrm>
              <a:off x="1022073" y="-1624298"/>
              <a:ext cx="2827252" cy="2827252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167"/>
              <a:endParaRPr lang="en-US" sz="23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Freeform 8"/>
            <p:cNvSpPr>
              <a:spLocks noEditPoints="1"/>
            </p:cNvSpPr>
            <p:nvPr/>
          </p:nvSpPr>
          <p:spPr bwMode="auto">
            <a:xfrm>
              <a:off x="1537798" y="-867430"/>
              <a:ext cx="1792288" cy="1501775"/>
            </a:xfrm>
            <a:custGeom>
              <a:avLst/>
              <a:gdLst>
                <a:gd name="T0" fmla="*/ 184 w 223"/>
                <a:gd name="T1" fmla="*/ 187 h 187"/>
                <a:gd name="T2" fmla="*/ 181 w 223"/>
                <a:gd name="T3" fmla="*/ 186 h 187"/>
                <a:gd name="T4" fmla="*/ 146 w 223"/>
                <a:gd name="T5" fmla="*/ 151 h 187"/>
                <a:gd name="T6" fmla="*/ 40 w 223"/>
                <a:gd name="T7" fmla="*/ 151 h 187"/>
                <a:gd name="T8" fmla="*/ 0 w 223"/>
                <a:gd name="T9" fmla="*/ 111 h 187"/>
                <a:gd name="T10" fmla="*/ 0 w 223"/>
                <a:gd name="T11" fmla="*/ 40 h 187"/>
                <a:gd name="T12" fmla="*/ 40 w 223"/>
                <a:gd name="T13" fmla="*/ 0 h 187"/>
                <a:gd name="T14" fmla="*/ 183 w 223"/>
                <a:gd name="T15" fmla="*/ 0 h 187"/>
                <a:gd name="T16" fmla="*/ 223 w 223"/>
                <a:gd name="T17" fmla="*/ 40 h 187"/>
                <a:gd name="T18" fmla="*/ 223 w 223"/>
                <a:gd name="T19" fmla="*/ 111 h 187"/>
                <a:gd name="T20" fmla="*/ 188 w 223"/>
                <a:gd name="T21" fmla="*/ 150 h 187"/>
                <a:gd name="T22" fmla="*/ 188 w 223"/>
                <a:gd name="T23" fmla="*/ 183 h 187"/>
                <a:gd name="T24" fmla="*/ 185 w 223"/>
                <a:gd name="T25" fmla="*/ 187 h 187"/>
                <a:gd name="T26" fmla="*/ 184 w 223"/>
                <a:gd name="T27" fmla="*/ 187 h 187"/>
                <a:gd name="T28" fmla="*/ 40 w 223"/>
                <a:gd name="T29" fmla="*/ 8 h 187"/>
                <a:gd name="T30" fmla="*/ 8 w 223"/>
                <a:gd name="T31" fmla="*/ 40 h 187"/>
                <a:gd name="T32" fmla="*/ 8 w 223"/>
                <a:gd name="T33" fmla="*/ 111 h 187"/>
                <a:gd name="T34" fmla="*/ 40 w 223"/>
                <a:gd name="T35" fmla="*/ 143 h 187"/>
                <a:gd name="T36" fmla="*/ 148 w 223"/>
                <a:gd name="T37" fmla="*/ 143 h 187"/>
                <a:gd name="T38" fmla="*/ 151 w 223"/>
                <a:gd name="T39" fmla="*/ 144 h 187"/>
                <a:gd name="T40" fmla="*/ 180 w 223"/>
                <a:gd name="T41" fmla="*/ 173 h 187"/>
                <a:gd name="T42" fmla="*/ 180 w 223"/>
                <a:gd name="T43" fmla="*/ 147 h 187"/>
                <a:gd name="T44" fmla="*/ 184 w 223"/>
                <a:gd name="T45" fmla="*/ 143 h 187"/>
                <a:gd name="T46" fmla="*/ 215 w 223"/>
                <a:gd name="T47" fmla="*/ 111 h 187"/>
                <a:gd name="T48" fmla="*/ 215 w 223"/>
                <a:gd name="T49" fmla="*/ 40 h 187"/>
                <a:gd name="T50" fmla="*/ 183 w 223"/>
                <a:gd name="T51" fmla="*/ 8 h 187"/>
                <a:gd name="T52" fmla="*/ 40 w 223"/>
                <a:gd name="T53" fmla="*/ 8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3" h="187">
                  <a:moveTo>
                    <a:pt x="184" y="187"/>
                  </a:moveTo>
                  <a:cubicBezTo>
                    <a:pt x="183" y="187"/>
                    <a:pt x="182" y="187"/>
                    <a:pt x="181" y="186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40" y="151"/>
                    <a:pt x="40" y="151"/>
                    <a:pt x="40" y="151"/>
                  </a:cubicBezTo>
                  <a:cubicBezTo>
                    <a:pt x="18" y="151"/>
                    <a:pt x="0" y="133"/>
                    <a:pt x="0" y="111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205" y="0"/>
                    <a:pt x="223" y="18"/>
                    <a:pt x="223" y="40"/>
                  </a:cubicBezTo>
                  <a:cubicBezTo>
                    <a:pt x="223" y="111"/>
                    <a:pt x="223" y="111"/>
                    <a:pt x="223" y="111"/>
                  </a:cubicBezTo>
                  <a:cubicBezTo>
                    <a:pt x="223" y="132"/>
                    <a:pt x="208" y="148"/>
                    <a:pt x="188" y="150"/>
                  </a:cubicBezTo>
                  <a:cubicBezTo>
                    <a:pt x="188" y="183"/>
                    <a:pt x="188" y="183"/>
                    <a:pt x="188" y="183"/>
                  </a:cubicBezTo>
                  <a:cubicBezTo>
                    <a:pt x="188" y="185"/>
                    <a:pt x="187" y="186"/>
                    <a:pt x="185" y="187"/>
                  </a:cubicBezTo>
                  <a:cubicBezTo>
                    <a:pt x="185" y="187"/>
                    <a:pt x="184" y="187"/>
                    <a:pt x="184" y="187"/>
                  </a:cubicBezTo>
                  <a:moveTo>
                    <a:pt x="40" y="8"/>
                  </a:moveTo>
                  <a:cubicBezTo>
                    <a:pt x="22" y="8"/>
                    <a:pt x="8" y="23"/>
                    <a:pt x="8" y="40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28"/>
                    <a:pt x="22" y="143"/>
                    <a:pt x="40" y="143"/>
                  </a:cubicBezTo>
                  <a:cubicBezTo>
                    <a:pt x="148" y="143"/>
                    <a:pt x="148" y="143"/>
                    <a:pt x="148" y="143"/>
                  </a:cubicBezTo>
                  <a:cubicBezTo>
                    <a:pt x="149" y="143"/>
                    <a:pt x="150" y="143"/>
                    <a:pt x="151" y="144"/>
                  </a:cubicBezTo>
                  <a:cubicBezTo>
                    <a:pt x="180" y="173"/>
                    <a:pt x="180" y="173"/>
                    <a:pt x="180" y="173"/>
                  </a:cubicBezTo>
                  <a:cubicBezTo>
                    <a:pt x="180" y="147"/>
                    <a:pt x="180" y="147"/>
                    <a:pt x="180" y="147"/>
                  </a:cubicBezTo>
                  <a:cubicBezTo>
                    <a:pt x="180" y="144"/>
                    <a:pt x="182" y="143"/>
                    <a:pt x="184" y="143"/>
                  </a:cubicBezTo>
                  <a:cubicBezTo>
                    <a:pt x="201" y="143"/>
                    <a:pt x="215" y="129"/>
                    <a:pt x="215" y="111"/>
                  </a:cubicBezTo>
                  <a:cubicBezTo>
                    <a:pt x="215" y="40"/>
                    <a:pt x="215" y="40"/>
                    <a:pt x="215" y="40"/>
                  </a:cubicBezTo>
                  <a:cubicBezTo>
                    <a:pt x="215" y="23"/>
                    <a:pt x="200" y="8"/>
                    <a:pt x="183" y="8"/>
                  </a:cubicBezTo>
                  <a:lnTo>
                    <a:pt x="4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31"/>
              <a:endParaRPr lang="en-US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83542303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nouncement, &quot;special&quot; slid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4010553" y="3187145"/>
            <a:ext cx="7163734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4010553" y="1514475"/>
            <a:ext cx="7163734" cy="1499616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79600" y="1586587"/>
            <a:ext cx="5550464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3431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500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Announcement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10" y="1514476"/>
            <a:ext cx="4010549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79607" y="5181630"/>
            <a:ext cx="6611407" cy="461665"/>
          </a:xfrm>
        </p:spPr>
        <p:txBody>
          <a:bodyPr>
            <a:noAutofit/>
          </a:bodyPr>
          <a:lstStyle>
            <a:lvl1pPr marL="0" indent="0" algn="l" defTabSz="913431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67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3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49600" y="1873011"/>
            <a:ext cx="841375" cy="84148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350" tIns="45677" rIns="91350" bIns="45677" numCol="1" anchor="t" anchorCtr="0" compatLnSpc="1">
            <a:prstTxWarp prst="textNoShape">
              <a:avLst/>
            </a:prstTxWarp>
          </a:bodyPr>
          <a:lstStyle/>
          <a:p>
            <a:pPr defTabSz="91343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206" y="1514475"/>
            <a:ext cx="2825864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8530"/>
          <a:stretch/>
        </p:blipFill>
        <p:spPr bwMode="auto">
          <a:xfrm>
            <a:off x="1401500" y="1742495"/>
            <a:ext cx="2067275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5" y="9"/>
            <a:ext cx="12190413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11174306" y="1630824"/>
            <a:ext cx="1016133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79605" y="3187152"/>
            <a:ext cx="6611407" cy="1523495"/>
          </a:xfrm>
        </p:spPr>
        <p:txBody>
          <a:bodyPr anchor="ctr" anchorCtr="0">
            <a:noAutofit/>
          </a:bodyPr>
          <a:lstStyle>
            <a:lvl1pPr algn="l" defTabSz="91343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3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4010564" y="6010284"/>
            <a:ext cx="8179864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7" name="Orange Tile"/>
          <p:cNvGrpSpPr/>
          <p:nvPr userDrawn="1"/>
        </p:nvGrpSpPr>
        <p:grpSpPr>
          <a:xfrm>
            <a:off x="1015991" y="3187483"/>
            <a:ext cx="2827620" cy="2827252"/>
            <a:chOff x="1351800" y="-1084759"/>
            <a:chExt cx="2827252" cy="2827252"/>
          </a:xfrm>
        </p:grpSpPr>
        <p:sp>
          <p:nvSpPr>
            <p:cNvPr id="18" name="Rectangle 17"/>
            <p:cNvSpPr/>
            <p:nvPr/>
          </p:nvSpPr>
          <p:spPr bwMode="auto">
            <a:xfrm>
              <a:off x="1351800" y="-1084759"/>
              <a:ext cx="2827252" cy="282725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167"/>
              <a:endParaRPr lang="en-US" sz="23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2005011" y="-436308"/>
              <a:ext cx="1522413" cy="1530350"/>
            </a:xfrm>
            <a:custGeom>
              <a:avLst/>
              <a:gdLst>
                <a:gd name="T0" fmla="*/ 6 w 187"/>
                <a:gd name="T1" fmla="*/ 188 h 188"/>
                <a:gd name="T2" fmla="*/ 129 w 187"/>
                <a:gd name="T3" fmla="*/ 64 h 188"/>
                <a:gd name="T4" fmla="*/ 180 w 187"/>
                <a:gd name="T5" fmla="*/ 115 h 188"/>
                <a:gd name="T6" fmla="*/ 185 w 187"/>
                <a:gd name="T7" fmla="*/ 116 h 188"/>
                <a:gd name="T8" fmla="*/ 187 w 187"/>
                <a:gd name="T9" fmla="*/ 112 h 188"/>
                <a:gd name="T10" fmla="*/ 187 w 187"/>
                <a:gd name="T11" fmla="*/ 4 h 188"/>
                <a:gd name="T12" fmla="*/ 183 w 187"/>
                <a:gd name="T13" fmla="*/ 0 h 188"/>
                <a:gd name="T14" fmla="*/ 75 w 187"/>
                <a:gd name="T15" fmla="*/ 0 h 188"/>
                <a:gd name="T16" fmla="*/ 71 w 187"/>
                <a:gd name="T17" fmla="*/ 3 h 188"/>
                <a:gd name="T18" fmla="*/ 71 w 187"/>
                <a:gd name="T19" fmla="*/ 4 h 188"/>
                <a:gd name="T20" fmla="*/ 72 w 187"/>
                <a:gd name="T21" fmla="*/ 7 h 188"/>
                <a:gd name="T22" fmla="*/ 123 w 187"/>
                <a:gd name="T23" fmla="*/ 58 h 188"/>
                <a:gd name="T24" fmla="*/ 0 w 187"/>
                <a:gd name="T25" fmla="*/ 182 h 188"/>
                <a:gd name="T26" fmla="*/ 6 w 187"/>
                <a:gd name="T27" fmla="*/ 188 h 188"/>
                <a:gd name="T28" fmla="*/ 179 w 187"/>
                <a:gd name="T29" fmla="*/ 8 h 188"/>
                <a:gd name="T30" fmla="*/ 179 w 187"/>
                <a:gd name="T31" fmla="*/ 103 h 188"/>
                <a:gd name="T32" fmla="*/ 85 w 187"/>
                <a:gd name="T33" fmla="*/ 8 h 188"/>
                <a:gd name="T34" fmla="*/ 179 w 187"/>
                <a:gd name="T35" fmla="*/ 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7" h="188">
                  <a:moveTo>
                    <a:pt x="6" y="188"/>
                  </a:moveTo>
                  <a:cubicBezTo>
                    <a:pt x="129" y="64"/>
                    <a:pt x="129" y="64"/>
                    <a:pt x="129" y="64"/>
                  </a:cubicBezTo>
                  <a:cubicBezTo>
                    <a:pt x="180" y="115"/>
                    <a:pt x="180" y="115"/>
                    <a:pt x="180" y="115"/>
                  </a:cubicBezTo>
                  <a:cubicBezTo>
                    <a:pt x="181" y="116"/>
                    <a:pt x="183" y="117"/>
                    <a:pt x="185" y="116"/>
                  </a:cubicBezTo>
                  <a:cubicBezTo>
                    <a:pt x="186" y="116"/>
                    <a:pt x="187" y="114"/>
                    <a:pt x="187" y="112"/>
                  </a:cubicBezTo>
                  <a:cubicBezTo>
                    <a:pt x="187" y="4"/>
                    <a:pt x="187" y="4"/>
                    <a:pt x="187" y="4"/>
                  </a:cubicBezTo>
                  <a:cubicBezTo>
                    <a:pt x="187" y="2"/>
                    <a:pt x="185" y="0"/>
                    <a:pt x="183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3" y="0"/>
                    <a:pt x="72" y="1"/>
                    <a:pt x="71" y="3"/>
                  </a:cubicBezTo>
                  <a:cubicBezTo>
                    <a:pt x="71" y="3"/>
                    <a:pt x="71" y="4"/>
                    <a:pt x="71" y="4"/>
                  </a:cubicBezTo>
                  <a:cubicBezTo>
                    <a:pt x="71" y="6"/>
                    <a:pt x="71" y="7"/>
                    <a:pt x="72" y="7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0" y="182"/>
                    <a:pt x="0" y="182"/>
                    <a:pt x="0" y="182"/>
                  </a:cubicBezTo>
                  <a:lnTo>
                    <a:pt x="6" y="188"/>
                  </a:lnTo>
                  <a:close/>
                  <a:moveTo>
                    <a:pt x="179" y="8"/>
                  </a:moveTo>
                  <a:cubicBezTo>
                    <a:pt x="179" y="103"/>
                    <a:pt x="179" y="103"/>
                    <a:pt x="179" y="103"/>
                  </a:cubicBezTo>
                  <a:cubicBezTo>
                    <a:pt x="85" y="8"/>
                    <a:pt x="85" y="8"/>
                    <a:pt x="85" y="8"/>
                  </a:cubicBezTo>
                  <a:lnTo>
                    <a:pt x="179" y="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31"/>
              <a:endParaRPr lang="en-US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76793184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c., &quot;special&quot; slid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4010553" y="3187145"/>
            <a:ext cx="7163734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4010553" y="1514475"/>
            <a:ext cx="7163734" cy="149961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79600" y="1586587"/>
            <a:ext cx="5550464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3431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500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Title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10" y="1514476"/>
            <a:ext cx="4010549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79607" y="5181630"/>
            <a:ext cx="6611407" cy="461665"/>
          </a:xfrm>
        </p:spPr>
        <p:txBody>
          <a:bodyPr>
            <a:noAutofit/>
          </a:bodyPr>
          <a:lstStyle>
            <a:lvl1pPr marL="0" indent="0" algn="l" defTabSz="913431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67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3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49600" y="1873011"/>
            <a:ext cx="841375" cy="84148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350" tIns="45677" rIns="91350" bIns="45677" numCol="1" anchor="t" anchorCtr="0" compatLnSpc="1">
            <a:prstTxWarp prst="textNoShape">
              <a:avLst/>
            </a:prstTxWarp>
          </a:bodyPr>
          <a:lstStyle/>
          <a:p>
            <a:pPr defTabSz="91343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206" y="1514475"/>
            <a:ext cx="2825864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46" tIns="45674" rIns="91346" bIns="45674" numCol="1" rtlCol="0" anchor="ctr" anchorCtr="0" compatLnSpc="1">
            <a:prstTxWarp prst="textNoShape">
              <a:avLst/>
            </a:prstTxWarp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8530"/>
          <a:stretch/>
        </p:blipFill>
        <p:spPr bwMode="auto">
          <a:xfrm>
            <a:off x="1401500" y="1742495"/>
            <a:ext cx="2067275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5" y="9"/>
            <a:ext cx="12190413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11174306" y="1630824"/>
            <a:ext cx="1016133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79605" y="3187152"/>
            <a:ext cx="6611407" cy="1523495"/>
          </a:xfrm>
        </p:spPr>
        <p:txBody>
          <a:bodyPr anchor="ctr" anchorCtr="0">
            <a:noAutofit/>
          </a:bodyPr>
          <a:lstStyle>
            <a:lvl1pPr algn="l" defTabSz="91343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4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4010564" y="6010284"/>
            <a:ext cx="8179864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6" tIns="45674" rIns="91346" bIns="4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67"/>
            <a:endParaRPr lang="en-US" sz="23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9" name="Teal Tile"/>
          <p:cNvGrpSpPr/>
          <p:nvPr userDrawn="1"/>
        </p:nvGrpSpPr>
        <p:grpSpPr>
          <a:xfrm>
            <a:off x="1015991" y="3187139"/>
            <a:ext cx="2827620" cy="2827252"/>
            <a:chOff x="823093" y="-1413626"/>
            <a:chExt cx="2827252" cy="2827252"/>
          </a:xfrm>
        </p:grpSpPr>
        <p:sp>
          <p:nvSpPr>
            <p:cNvPr id="20" name="Rectangle 19"/>
            <p:cNvSpPr/>
            <p:nvPr/>
          </p:nvSpPr>
          <p:spPr bwMode="auto">
            <a:xfrm>
              <a:off x="823093" y="-1413626"/>
              <a:ext cx="2827252" cy="282725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167"/>
              <a:endParaRPr lang="en-US" sz="23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1397725" y="-232569"/>
              <a:ext cx="1677988" cy="465138"/>
            </a:xfrm>
            <a:custGeom>
              <a:avLst/>
              <a:gdLst>
                <a:gd name="T0" fmla="*/ 0 w 209"/>
                <a:gd name="T1" fmla="*/ 25 h 58"/>
                <a:gd name="T2" fmla="*/ 20 w 209"/>
                <a:gd name="T3" fmla="*/ 25 h 58"/>
                <a:gd name="T4" fmla="*/ 20 w 209"/>
                <a:gd name="T5" fmla="*/ 33 h 58"/>
                <a:gd name="T6" fmla="*/ 0 w 209"/>
                <a:gd name="T7" fmla="*/ 33 h 58"/>
                <a:gd name="T8" fmla="*/ 0 w 209"/>
                <a:gd name="T9" fmla="*/ 25 h 58"/>
                <a:gd name="T10" fmla="*/ 40 w 209"/>
                <a:gd name="T11" fmla="*/ 33 h 58"/>
                <a:gd name="T12" fmla="*/ 60 w 209"/>
                <a:gd name="T13" fmla="*/ 33 h 58"/>
                <a:gd name="T14" fmla="*/ 60 w 209"/>
                <a:gd name="T15" fmla="*/ 25 h 58"/>
                <a:gd name="T16" fmla="*/ 40 w 209"/>
                <a:gd name="T17" fmla="*/ 25 h 58"/>
                <a:gd name="T18" fmla="*/ 40 w 209"/>
                <a:gd name="T19" fmla="*/ 33 h 58"/>
                <a:gd name="T20" fmla="*/ 120 w 209"/>
                <a:gd name="T21" fmla="*/ 33 h 58"/>
                <a:gd name="T22" fmla="*/ 140 w 209"/>
                <a:gd name="T23" fmla="*/ 33 h 58"/>
                <a:gd name="T24" fmla="*/ 140 w 209"/>
                <a:gd name="T25" fmla="*/ 25 h 58"/>
                <a:gd name="T26" fmla="*/ 120 w 209"/>
                <a:gd name="T27" fmla="*/ 25 h 58"/>
                <a:gd name="T28" fmla="*/ 120 w 209"/>
                <a:gd name="T29" fmla="*/ 33 h 58"/>
                <a:gd name="T30" fmla="*/ 80 w 209"/>
                <a:gd name="T31" fmla="*/ 33 h 58"/>
                <a:gd name="T32" fmla="*/ 100 w 209"/>
                <a:gd name="T33" fmla="*/ 33 h 58"/>
                <a:gd name="T34" fmla="*/ 100 w 209"/>
                <a:gd name="T35" fmla="*/ 25 h 58"/>
                <a:gd name="T36" fmla="*/ 80 w 209"/>
                <a:gd name="T37" fmla="*/ 25 h 58"/>
                <a:gd name="T38" fmla="*/ 80 w 209"/>
                <a:gd name="T39" fmla="*/ 33 h 58"/>
                <a:gd name="T40" fmla="*/ 207 w 209"/>
                <a:gd name="T41" fmla="*/ 26 h 58"/>
                <a:gd name="T42" fmla="*/ 181 w 209"/>
                <a:gd name="T43" fmla="*/ 0 h 58"/>
                <a:gd name="T44" fmla="*/ 175 w 209"/>
                <a:gd name="T45" fmla="*/ 6 h 58"/>
                <a:gd name="T46" fmla="*/ 195 w 209"/>
                <a:gd name="T47" fmla="*/ 25 h 58"/>
                <a:gd name="T48" fmla="*/ 160 w 209"/>
                <a:gd name="T49" fmla="*/ 25 h 58"/>
                <a:gd name="T50" fmla="*/ 160 w 209"/>
                <a:gd name="T51" fmla="*/ 33 h 58"/>
                <a:gd name="T52" fmla="*/ 195 w 209"/>
                <a:gd name="T53" fmla="*/ 33 h 58"/>
                <a:gd name="T54" fmla="*/ 175 w 209"/>
                <a:gd name="T55" fmla="*/ 52 h 58"/>
                <a:gd name="T56" fmla="*/ 181 w 209"/>
                <a:gd name="T57" fmla="*/ 58 h 58"/>
                <a:gd name="T58" fmla="*/ 207 w 209"/>
                <a:gd name="T59" fmla="*/ 32 h 58"/>
                <a:gd name="T60" fmla="*/ 207 w 209"/>
                <a:gd name="T61" fmla="*/ 2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9" h="58">
                  <a:moveTo>
                    <a:pt x="0" y="25"/>
                  </a:moveTo>
                  <a:cubicBezTo>
                    <a:pt x="20" y="25"/>
                    <a:pt x="20" y="25"/>
                    <a:pt x="20" y="2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0" y="33"/>
                    <a:pt x="0" y="33"/>
                    <a:pt x="0" y="33"/>
                  </a:cubicBezTo>
                  <a:lnTo>
                    <a:pt x="0" y="25"/>
                  </a:lnTo>
                  <a:close/>
                  <a:moveTo>
                    <a:pt x="40" y="33"/>
                  </a:moveTo>
                  <a:cubicBezTo>
                    <a:pt x="60" y="33"/>
                    <a:pt x="60" y="33"/>
                    <a:pt x="60" y="33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40" y="25"/>
                    <a:pt x="40" y="25"/>
                    <a:pt x="40" y="25"/>
                  </a:cubicBezTo>
                  <a:lnTo>
                    <a:pt x="40" y="33"/>
                  </a:lnTo>
                  <a:close/>
                  <a:moveTo>
                    <a:pt x="12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20" y="25"/>
                    <a:pt x="120" y="25"/>
                    <a:pt x="120" y="25"/>
                  </a:cubicBezTo>
                  <a:lnTo>
                    <a:pt x="120" y="33"/>
                  </a:lnTo>
                  <a:close/>
                  <a:moveTo>
                    <a:pt x="80" y="33"/>
                  </a:moveTo>
                  <a:cubicBezTo>
                    <a:pt x="100" y="33"/>
                    <a:pt x="100" y="33"/>
                    <a:pt x="100" y="33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80" y="25"/>
                    <a:pt x="80" y="25"/>
                    <a:pt x="80" y="25"/>
                  </a:cubicBezTo>
                  <a:lnTo>
                    <a:pt x="80" y="33"/>
                  </a:lnTo>
                  <a:close/>
                  <a:moveTo>
                    <a:pt x="207" y="26"/>
                  </a:moveTo>
                  <a:cubicBezTo>
                    <a:pt x="181" y="0"/>
                    <a:pt x="181" y="0"/>
                    <a:pt x="181" y="0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95" y="25"/>
                    <a:pt x="195" y="25"/>
                    <a:pt x="195" y="25"/>
                  </a:cubicBezTo>
                  <a:cubicBezTo>
                    <a:pt x="160" y="25"/>
                    <a:pt x="160" y="25"/>
                    <a:pt x="160" y="25"/>
                  </a:cubicBezTo>
                  <a:cubicBezTo>
                    <a:pt x="160" y="33"/>
                    <a:pt x="160" y="33"/>
                    <a:pt x="160" y="33"/>
                  </a:cubicBezTo>
                  <a:cubicBezTo>
                    <a:pt x="195" y="33"/>
                    <a:pt x="195" y="33"/>
                    <a:pt x="195" y="33"/>
                  </a:cubicBezTo>
                  <a:cubicBezTo>
                    <a:pt x="175" y="52"/>
                    <a:pt x="175" y="52"/>
                    <a:pt x="175" y="52"/>
                  </a:cubicBezTo>
                  <a:cubicBezTo>
                    <a:pt x="181" y="58"/>
                    <a:pt x="181" y="58"/>
                    <a:pt x="181" y="58"/>
                  </a:cubicBezTo>
                  <a:cubicBezTo>
                    <a:pt x="207" y="32"/>
                    <a:pt x="207" y="32"/>
                    <a:pt x="207" y="32"/>
                  </a:cubicBezTo>
                  <a:cubicBezTo>
                    <a:pt x="209" y="30"/>
                    <a:pt x="209" y="28"/>
                    <a:pt x="207" y="2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31"/>
              <a:endParaRPr lang="en-US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40699388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180" y="228629"/>
            <a:ext cx="11150466" cy="60939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180" y="1447803"/>
            <a:ext cx="11150466" cy="200054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4273177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9180" y="1447803"/>
            <a:ext cx="11150466" cy="2000548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7970555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9184" y="1447826"/>
            <a:ext cx="5487115" cy="1764585"/>
          </a:xfrm>
        </p:spPr>
        <p:txBody>
          <a:bodyPr/>
          <a:lstStyle>
            <a:lvl1pPr marL="339633" indent="-339633">
              <a:lnSpc>
                <a:spcPct val="90000"/>
              </a:lnSpc>
              <a:defRPr sz="2800"/>
            </a:lvl1pPr>
            <a:lvl2pPr marL="672651" indent="-325098">
              <a:lnSpc>
                <a:spcPct val="90000"/>
              </a:lnSpc>
              <a:defRPr sz="2400"/>
            </a:lvl2pPr>
            <a:lvl3pPr marL="952811" indent="-288094">
              <a:lnSpc>
                <a:spcPct val="90000"/>
              </a:lnSpc>
              <a:defRPr sz="2000"/>
            </a:lvl3pPr>
            <a:lvl4pPr marL="1226364" indent="-273547">
              <a:lnSpc>
                <a:spcPct val="90000"/>
              </a:lnSpc>
              <a:defRPr sz="1900"/>
            </a:lvl4pPr>
            <a:lvl5pPr marL="1514451" indent="-280160">
              <a:lnSpc>
                <a:spcPct val="90000"/>
              </a:lnSpc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535" y="1447826"/>
            <a:ext cx="5487115" cy="1764585"/>
          </a:xfrm>
        </p:spPr>
        <p:txBody>
          <a:bodyPr/>
          <a:lstStyle>
            <a:lvl1pPr marL="347560" indent="-347560">
              <a:lnSpc>
                <a:spcPct val="90000"/>
              </a:lnSpc>
              <a:defRPr sz="2800"/>
            </a:lvl1pPr>
            <a:lvl2pPr marL="672651" indent="-339633">
              <a:lnSpc>
                <a:spcPct val="90000"/>
              </a:lnSpc>
              <a:defRPr sz="2400"/>
            </a:lvl2pPr>
            <a:lvl3pPr marL="960747" indent="-302636">
              <a:lnSpc>
                <a:spcPct val="90000"/>
              </a:lnSpc>
              <a:defRPr sz="2000"/>
            </a:lvl3pPr>
            <a:lvl4pPr marL="1226364" indent="-265616">
              <a:lnSpc>
                <a:spcPct val="90000"/>
              </a:lnSpc>
              <a:defRPr sz="1900"/>
            </a:lvl4pPr>
            <a:lvl5pPr marL="1514451" indent="-273547">
              <a:lnSpc>
                <a:spcPct val="90000"/>
              </a:lnSpc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814536321"/>
      </p:ext>
    </p:extLst>
  </p:cSld>
  <p:clrMapOvr>
    <a:masterClrMapping/>
  </p:clrMapOvr>
  <p:transition spd="slow">
    <p:push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9184" y="1406966"/>
            <a:ext cx="5487115" cy="350865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6713" indent="0">
              <a:buNone/>
              <a:defRPr sz="2000" b="1"/>
            </a:lvl2pPr>
            <a:lvl3pPr marL="913431" indent="0">
              <a:buNone/>
              <a:defRPr sz="1900" b="1"/>
            </a:lvl3pPr>
            <a:lvl4pPr marL="1370154" indent="0">
              <a:buNone/>
              <a:defRPr sz="1600" b="1"/>
            </a:lvl4pPr>
            <a:lvl5pPr marL="1826871" indent="0">
              <a:buNone/>
              <a:defRPr sz="1600" b="1"/>
            </a:lvl5pPr>
            <a:lvl6pPr marL="2283581" indent="0">
              <a:buNone/>
              <a:defRPr sz="1600" b="1"/>
            </a:lvl6pPr>
            <a:lvl7pPr marL="2740301" indent="0">
              <a:buNone/>
              <a:defRPr sz="1600" b="1"/>
            </a:lvl7pPr>
            <a:lvl8pPr marL="3197019" indent="0">
              <a:buNone/>
              <a:defRPr sz="1600" b="1"/>
            </a:lvl8pPr>
            <a:lvl9pPr marL="3653743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7935" y="2133628"/>
            <a:ext cx="5485686" cy="1555297"/>
          </a:xfrm>
        </p:spPr>
        <p:txBody>
          <a:bodyPr/>
          <a:lstStyle>
            <a:lvl1pPr marL="281483" indent="-281483">
              <a:defRPr sz="2300"/>
            </a:lvl1pPr>
            <a:lvl2pPr marL="561642" indent="-265616">
              <a:defRPr sz="2000"/>
            </a:lvl2pPr>
            <a:lvl3pPr marL="812735" indent="-243161">
              <a:defRPr sz="1900"/>
            </a:lvl3pPr>
            <a:lvl4pPr marL="1049290" indent="-228626">
              <a:defRPr sz="1700"/>
            </a:lvl4pPr>
            <a:lvl5pPr marL="1277911" indent="-206166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82535" y="1406966"/>
            <a:ext cx="5487115" cy="350865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6713" indent="0">
              <a:buNone/>
              <a:defRPr sz="2000" b="1"/>
            </a:lvl2pPr>
            <a:lvl3pPr marL="913431" indent="0">
              <a:buNone/>
              <a:defRPr sz="1900" b="1"/>
            </a:lvl3pPr>
            <a:lvl4pPr marL="1370154" indent="0">
              <a:buNone/>
              <a:defRPr sz="1600" b="1"/>
            </a:lvl4pPr>
            <a:lvl5pPr marL="1826871" indent="0">
              <a:buNone/>
              <a:defRPr sz="1600" b="1"/>
            </a:lvl5pPr>
            <a:lvl6pPr marL="2283581" indent="0">
              <a:buNone/>
              <a:defRPr sz="1600" b="1"/>
            </a:lvl6pPr>
            <a:lvl7pPr marL="2740301" indent="0">
              <a:buNone/>
              <a:defRPr sz="1600" b="1"/>
            </a:lvl7pPr>
            <a:lvl8pPr marL="3197019" indent="0">
              <a:buNone/>
              <a:defRPr sz="1600" b="1"/>
            </a:lvl8pPr>
            <a:lvl9pPr marL="3653743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82535" y="2133609"/>
            <a:ext cx="5487115" cy="1578619"/>
          </a:xfrm>
        </p:spPr>
        <p:txBody>
          <a:bodyPr/>
          <a:lstStyle>
            <a:lvl1pPr marL="296024" indent="-296024">
              <a:defRPr sz="2300"/>
            </a:lvl1pPr>
            <a:lvl2pPr marL="569578" indent="-273547">
              <a:defRPr sz="2000"/>
            </a:lvl2pPr>
            <a:lvl3pPr marL="820665" indent="-244485">
              <a:defRPr sz="1900"/>
            </a:lvl3pPr>
            <a:lvl4pPr marL="1049290" indent="-236551">
              <a:defRPr sz="1700"/>
            </a:lvl4pPr>
            <a:lvl5pPr marL="1277911" indent="-220693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981973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9026650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21764337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-7531" y="6097"/>
            <a:ext cx="12190413" cy="182563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42" tIns="45618" rIns="91242" bIns="45618"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3058" y="6675457"/>
            <a:ext cx="12190413" cy="182563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42" tIns="45618" rIns="91242" bIns="45618"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WALKIN - Prints in GRAYSCAL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71270815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MS_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88895617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ck Layout - Title and Conten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 flip="none" rotWithShape="1">
                  <a:gsLst>
                    <a:gs pos="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519180" y="1447803"/>
            <a:ext cx="11150466" cy="2000548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82820632"/>
      </p:ext>
    </p:extLst>
  </p:cSld>
  <p:clrMapOvr>
    <a:masterClrMapping/>
  </p:clrMapOvr>
  <p:transition spd="slow">
    <p:push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519180" y="1447803"/>
            <a:ext cx="11150466" cy="2000548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" y="6238888"/>
            <a:ext cx="12190414" cy="619125"/>
          </a:xfrm>
          <a:solidFill>
            <a:srgbClr val="FFFF99"/>
          </a:solidFill>
        </p:spPr>
        <p:txBody>
          <a:bodyPr wrap="square" lIns="202990" tIns="101497" rIns="202990" bIns="101497" anchor="b" anchorCtr="0">
            <a:noAutofit/>
          </a:bodyPr>
          <a:lstStyle>
            <a:lvl1pPr algn="r">
              <a:buFont typeface="Arial" pitchFamily="34" charset="0"/>
              <a:buNone/>
              <a:defRPr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80594300"/>
      </p:ext>
    </p:extLst>
  </p:cSld>
  <p:clrMapOvr>
    <a:masterClrMapping/>
  </p:clrMapOvr>
  <p:transition spd="slow">
    <p:push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334" y="1198565"/>
            <a:ext cx="11399735" cy="1624376"/>
          </a:xfrm>
        </p:spPr>
        <p:txBody>
          <a:bodyPr/>
          <a:lstStyle>
            <a:lvl1pPr marL="0" indent="0" algn="l">
              <a:lnSpc>
                <a:spcPts val="2498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lnSpc>
                <a:spcPts val="2498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lnSpc>
                <a:spcPts val="2498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3pPr>
            <a:lvl4pPr marL="0" indent="0" algn="l">
              <a:lnSpc>
                <a:spcPts val="2498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2498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22332" y="436419"/>
            <a:ext cx="11399736" cy="484748"/>
          </a:xfrm>
        </p:spPr>
        <p:txBody>
          <a:bodyPr/>
          <a:lstStyle>
            <a:lvl1pPr algn="l" defTabSz="91379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00" b="0" kern="1200" cap="none" spc="0" baseline="0" dirty="0">
                <a:ln w="3175">
                  <a:noFill/>
                </a:ln>
                <a:solidFill>
                  <a:schemeClr val="tx2">
                    <a:alpha val="99000"/>
                  </a:schemeClr>
                </a:solidFill>
                <a:effectLst/>
                <a:latin typeface="Segoe UI Light" pitchFamily="34" charset="0"/>
                <a:ea typeface="+mn-ea"/>
                <a:cs typeface="Arial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9076441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EC2BC-36AB-4E1B-9BA6-C928A8E4F56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>
                <a:solidFill>
                  <a:prstClr val="black">
                    <a:tint val="75000"/>
                  </a:prstClr>
                </a:solidFill>
              </a:rPr>
              <a:t>Design by Nick</a:t>
            </a:r>
            <a:fld id="{F633731A-6AD5-46E1-9D66-78685EADC15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41765737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EC2BC-36AB-4E1B-9BA6-C928A8E4F56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33731A-6AD5-46E1-9D66-78685EADC15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99665902"/>
      </p:ext>
    </p:extLst>
  </p:cSld>
  <p:clrMapOvr>
    <a:masterClrMapping/>
  </p:clrMapOvr>
  <p:transition spd="slow">
    <p:push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-7531" y="6097"/>
            <a:ext cx="12190413" cy="182563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42" tIns="45618" rIns="91242" bIns="45618"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3058" y="6675457"/>
            <a:ext cx="12190413" cy="182563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42" tIns="45618" rIns="91242" bIns="45618"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135562347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结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0"/>
            <a:ext cx="121904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4" rIns="121908" bIns="6095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/>
              <a:pPr/>
              <a:t>2017/1/1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/>
              <a:pPr/>
              <a:t>‹#›</a:t>
            </a:fld>
            <a:endParaRPr lang="zh-CN" altLang="en-US"/>
          </a:p>
        </p:txBody>
      </p:sp>
      <p:sp>
        <p:nvSpPr>
          <p:cNvPr id="6" name="Text Box 4"/>
          <p:cNvSpPr txBox="1">
            <a:spLocks noChangeArrowheads="1"/>
          </p:cNvSpPr>
          <p:nvPr userDrawn="1"/>
        </p:nvSpPr>
        <p:spPr bwMode="auto">
          <a:xfrm>
            <a:off x="3599262" y="2636915"/>
            <a:ext cx="4948122" cy="546100"/>
          </a:xfrm>
          <a:prstGeom prst="rect">
            <a:avLst/>
          </a:prstGeom>
          <a:solidFill>
            <a:srgbClr val="E60013"/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3300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社会的安全   我们的责任</a:t>
            </a:r>
          </a:p>
        </p:txBody>
      </p:sp>
      <p:sp>
        <p:nvSpPr>
          <p:cNvPr id="7" name="Text Box 5"/>
          <p:cNvSpPr txBox="1">
            <a:spLocks noChangeArrowheads="1"/>
          </p:cNvSpPr>
          <p:nvPr userDrawn="1"/>
        </p:nvSpPr>
        <p:spPr bwMode="auto">
          <a:xfrm>
            <a:off x="4174351" y="3356997"/>
            <a:ext cx="383992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di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900" kern="0" dirty="0">
                <a:solidFill>
                  <a:srgbClr val="E60013"/>
                </a:solidFill>
                <a:latin typeface="微软雅黑" pitchFamily="34" charset="-122"/>
                <a:ea typeface="微软雅黑" pitchFamily="34" charset="-122"/>
              </a:rPr>
              <a:t>浙江大华技术股份有限公司</a:t>
            </a:r>
            <a:endParaRPr lang="en-US" altLang="zh-CN" sz="1900" kern="0" dirty="0">
              <a:solidFill>
                <a:srgbClr val="E60013"/>
              </a:solidFill>
              <a:latin typeface="微软雅黑" pitchFamily="34" charset="-122"/>
              <a:ea typeface="微软雅黑" pitchFamily="34" charset="-122"/>
            </a:endParaRPr>
          </a:p>
          <a:p>
            <a:pPr algn="di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900" kern="0" dirty="0">
                <a:solidFill>
                  <a:srgbClr val="E60013"/>
                </a:solidFill>
                <a:latin typeface="Times New Roman"/>
              </a:rPr>
              <a:t>ZheJiang Dahua Technology CO.,LTD.</a:t>
            </a:r>
            <a:endParaRPr lang="zh-CN" altLang="en-US" sz="1900" kern="0" dirty="0">
              <a:solidFill>
                <a:srgbClr val="E60013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20165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 userDrawn="1"/>
        </p:nvSpPr>
        <p:spPr>
          <a:xfrm>
            <a:off x="0" y="0"/>
            <a:ext cx="121904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4" rIns="121908" bIns="60954" rtlCol="0" anchor="ctr"/>
          <a:lstStyle/>
          <a:p>
            <a:pPr algn="ctr" defTabSz="1219078"/>
            <a:endParaRPr lang="zh-CN" altLang="en-US" sz="2400">
              <a:solidFill>
                <a:prstClr val="white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327221" y="2802503"/>
            <a:ext cx="6767194" cy="914532"/>
          </a:xfrm>
        </p:spPr>
        <p:txBody>
          <a:bodyPr>
            <a:noAutofit/>
          </a:bodyPr>
          <a:lstStyle>
            <a:lvl1pPr algn="ctr">
              <a:defRPr kumimoji="0" lang="zh-CN" altLang="en-US" sz="4300" b="1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直接连接符 7"/>
          <p:cNvCxnSpPr/>
          <p:nvPr userDrawn="1"/>
        </p:nvCxnSpPr>
        <p:spPr>
          <a:xfrm>
            <a:off x="4938024" y="2372883"/>
            <a:ext cx="0" cy="1700324"/>
          </a:xfrm>
          <a:prstGeom prst="line">
            <a:avLst/>
          </a:prstGeom>
          <a:noFill/>
          <a:ln w="285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pic>
        <p:nvPicPr>
          <p:cNvPr id="9" name="Picture 2" descr="D:\PPT\个人制作\大华内训\让你的PPT会说话\母版设计\大华\LOGO-JP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83292" y="2792813"/>
            <a:ext cx="2773538" cy="89637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6728910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标题和内容">
    <p:bg>
      <p:bgPr>
        <a:solidFill>
          <a:srgbClr val="1E3E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623311" y="6309340"/>
            <a:ext cx="284443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ED80DD-7748-489F-BF09-D22799642340}" type="datetimeFigureOut">
              <a:rPr lang="zh-CN" altLang="en-US" smtClean="0"/>
              <a:pPr>
                <a:defRPr/>
              </a:pPr>
              <a:t>2017/1/16</a:t>
            </a:fld>
            <a:endParaRPr lang="zh-CN" altLang="en-US"/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071" y="6356368"/>
            <a:ext cx="386029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6463" y="6356368"/>
            <a:ext cx="2844430" cy="365125"/>
          </a:xfrm>
          <a:prstGeom prst="rect">
            <a:avLst/>
          </a:prstGeom>
        </p:spPr>
        <p:txBody>
          <a:bodyPr lIns="121624" tIns="60813" rIns="121624" bIns="60813"/>
          <a:lstStyle>
            <a:lvl1pPr>
              <a:defRPr/>
            </a:lvl1pPr>
          </a:lstStyle>
          <a:p>
            <a:pPr>
              <a:defRPr/>
            </a:pPr>
            <a:fld id="{F73A98B2-3ED3-414E-8590-C97E1EC14218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2982980427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119561" y="478199"/>
            <a:ext cx="8447543" cy="83858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E60013"/>
              </a:buClr>
              <a:defRPr/>
            </a:lvl1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6353525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583297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04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4" rIns="121908" bIns="60954" rtlCol="0" anchor="ctr"/>
          <a:lstStyle/>
          <a:p>
            <a:pPr algn="ctr" defTabSz="1219078"/>
            <a:endParaRPr lang="zh-CN" altLang="en-US" sz="2400">
              <a:solidFill>
                <a:prstClr val="white"/>
              </a:solidFill>
            </a:endParaRPr>
          </a:p>
        </p:txBody>
      </p:sp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4109915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标题和内容">
    <p:bg>
      <p:bgPr>
        <a:solidFill>
          <a:srgbClr val="1E3E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623311" y="6309320"/>
            <a:ext cx="284443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ED80DD-7748-489F-BF09-D2279964234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058" y="6356352"/>
            <a:ext cx="386029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6463" y="6356352"/>
            <a:ext cx="284443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3A98B2-3ED3-414E-8590-C97E1EC14218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2190833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6463" y="6356360"/>
            <a:ext cx="2844430" cy="365125"/>
          </a:xfrm>
          <a:prstGeom prst="rect">
            <a:avLst/>
          </a:prstGeom>
        </p:spPr>
        <p:txBody>
          <a:bodyPr lIns="91282" tIns="45639" rIns="91282" bIns="45639"/>
          <a:lstStyle/>
          <a:p>
            <a:pPr defTabSz="912704"/>
            <a:fld id="{0C913308-F349-4B6D-A68A-DD1791B4A57B}" type="slidenum">
              <a:rPr lang="zh-CN" altLang="en-US" smtClean="0">
                <a:solidFill>
                  <a:prstClr val="black"/>
                </a:solidFill>
              </a:rPr>
              <a:pPr defTabSz="912704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506915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6463" y="6356360"/>
            <a:ext cx="2844430" cy="365125"/>
          </a:xfrm>
          <a:prstGeom prst="rect">
            <a:avLst/>
          </a:prstGeom>
        </p:spPr>
        <p:txBody>
          <a:bodyPr lIns="91282" tIns="45639" rIns="91282" bIns="45639"/>
          <a:lstStyle/>
          <a:p>
            <a:pPr defTabSz="912704"/>
            <a:fld id="{0C913308-F349-4B6D-A68A-DD1791B4A57B}" type="slidenum">
              <a:rPr lang="zh-CN" altLang="en-US" smtClean="0">
                <a:solidFill>
                  <a:prstClr val="black"/>
                </a:solidFill>
              </a:rPr>
              <a:pPr defTabSz="912704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691955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-7535" y="6089"/>
            <a:ext cx="12190413" cy="182563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2" tIns="45639" rIns="91282" bIns="45639" rtlCol="0" anchor="ctr"/>
          <a:lstStyle/>
          <a:p>
            <a:pPr algn="ctr" defTabSz="912704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" name="矩形 5"/>
          <p:cNvSpPr/>
          <p:nvPr userDrawn="1"/>
        </p:nvSpPr>
        <p:spPr>
          <a:xfrm>
            <a:off x="3054" y="6675449"/>
            <a:ext cx="12190413" cy="182563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2" tIns="45639" rIns="91282" bIns="45639" rtlCol="0" anchor="ctr"/>
          <a:lstStyle/>
          <a:p>
            <a:pPr algn="ctr" defTabSz="912704"/>
            <a:endParaRPr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9641802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标题和内容">
    <p:bg>
      <p:bgPr>
        <a:solidFill>
          <a:srgbClr val="1E3E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623311" y="6309332"/>
            <a:ext cx="284443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ED80DD-7748-489F-BF09-D2279964234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067" y="6356360"/>
            <a:ext cx="386029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6463" y="6356360"/>
            <a:ext cx="2844430" cy="365125"/>
          </a:xfrm>
          <a:prstGeom prst="rect">
            <a:avLst/>
          </a:prstGeom>
        </p:spPr>
        <p:txBody>
          <a:bodyPr lIns="121684" tIns="60843" rIns="121684" bIns="60843"/>
          <a:lstStyle>
            <a:lvl1pPr>
              <a:defRPr/>
            </a:lvl1pPr>
          </a:lstStyle>
          <a:p>
            <a:pPr defTabSz="912704">
              <a:defRPr/>
            </a:pPr>
            <a:fld id="{F73A98B2-3ED3-414E-8590-C97E1EC14218}" type="slidenum">
              <a:rPr lang="zh-CN" altLang="en-US" smtClean="0">
                <a:solidFill>
                  <a:prstClr val="black"/>
                </a:solidFill>
              </a:rPr>
              <a:pPr defTabSz="912704">
                <a:defRPr/>
              </a:pPr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75366447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097" y="365129"/>
            <a:ext cx="10514233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097" y="1825625"/>
            <a:ext cx="10514233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200BB9-8E63-4B90-AA38-83712F48610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09483" y="6356364"/>
            <a:ext cx="2742843" cy="365125"/>
          </a:xfrm>
          <a:prstGeom prst="rect">
            <a:avLst/>
          </a:prstGeom>
        </p:spPr>
        <p:txBody>
          <a:bodyPr/>
          <a:lstStyle/>
          <a:p>
            <a:pPr defTabSz="912704"/>
            <a:fld id="{B631DAA3-471C-4268-9785-E056DCED3648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912704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68078857"/>
      </p:ext>
    </p:extLst>
  </p:cSld>
  <p:clrMapOvr>
    <a:masterClrMapping/>
  </p:clrMapOvr>
  <p:transition spd="slow">
    <p:push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521" y="274639"/>
            <a:ext cx="10971372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EC2BC-36AB-4E1B-9BA6-C928A8E4F56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6463" y="6356368"/>
            <a:ext cx="2844430" cy="365125"/>
          </a:xfrm>
          <a:prstGeom prst="rect">
            <a:avLst/>
          </a:prstGeom>
        </p:spPr>
        <p:txBody>
          <a:bodyPr/>
          <a:lstStyle/>
          <a:p>
            <a:pPr defTabSz="912704"/>
            <a:fld id="{F633731A-6AD5-46E1-9D66-78685EADC15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912704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65523846"/>
      </p:ext>
    </p:extLst>
  </p:cSld>
  <p:clrMapOvr>
    <a:masterClrMapping/>
  </p:clrMapOvr>
  <p:transition spd="slow">
    <p:push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 userDrawn="1"/>
        </p:nvSpPr>
        <p:spPr>
          <a:xfrm>
            <a:off x="12" y="0"/>
            <a:ext cx="121904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57" tIns="60879" rIns="121757" bIns="60879" rtlCol="0" anchor="ctr"/>
          <a:lstStyle/>
          <a:p>
            <a:pPr algn="ctr" defTabSz="1217556"/>
            <a:endParaRPr lang="zh-CN" altLang="en-US" sz="2400">
              <a:solidFill>
                <a:prstClr val="white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327225" y="2802503"/>
            <a:ext cx="6767194" cy="914532"/>
          </a:xfrm>
        </p:spPr>
        <p:txBody>
          <a:bodyPr>
            <a:noAutofit/>
          </a:bodyPr>
          <a:lstStyle>
            <a:lvl1pPr algn="ctr">
              <a:defRPr kumimoji="0" lang="zh-CN" altLang="en-US" sz="4300" b="1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直接连接符 7"/>
          <p:cNvCxnSpPr/>
          <p:nvPr userDrawn="1"/>
        </p:nvCxnSpPr>
        <p:spPr>
          <a:xfrm>
            <a:off x="4938024" y="2372887"/>
            <a:ext cx="0" cy="1700324"/>
          </a:xfrm>
          <a:prstGeom prst="line">
            <a:avLst/>
          </a:prstGeom>
          <a:noFill/>
          <a:ln w="285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pic>
        <p:nvPicPr>
          <p:cNvPr id="9" name="Picture 2" descr="D:\PPT\个人制作\大华内训\让你的PPT会说话\母版设计\大华\LOGO-JP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83292" y="2792831"/>
            <a:ext cx="2773538" cy="89637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0301638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6463" y="6356360"/>
            <a:ext cx="2844430" cy="365125"/>
          </a:xfrm>
          <a:prstGeom prst="rect">
            <a:avLst/>
          </a:prstGeom>
        </p:spPr>
        <p:txBody>
          <a:bodyPr lIns="91282" tIns="45639" rIns="91282" bIns="45639"/>
          <a:lstStyle/>
          <a:p>
            <a:pPr defTabSz="912704"/>
            <a:fld id="{0C913308-F349-4B6D-A68A-DD1791B4A57B}" type="slidenum">
              <a:rPr lang="zh-CN" altLang="en-US" smtClean="0">
                <a:solidFill>
                  <a:prstClr val="black"/>
                </a:solidFill>
              </a:rPr>
              <a:pPr defTabSz="912704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39452937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6463" y="6356360"/>
            <a:ext cx="2844430" cy="365125"/>
          </a:xfrm>
          <a:prstGeom prst="rect">
            <a:avLst/>
          </a:prstGeom>
        </p:spPr>
        <p:txBody>
          <a:bodyPr lIns="91282" tIns="45639" rIns="91282" bIns="45639"/>
          <a:lstStyle/>
          <a:p>
            <a:pPr defTabSz="912704"/>
            <a:fld id="{0C913308-F349-4B6D-A68A-DD1791B4A57B}" type="slidenum">
              <a:rPr lang="zh-CN" altLang="en-US" smtClean="0">
                <a:solidFill>
                  <a:prstClr val="black"/>
                </a:solidFill>
              </a:rPr>
              <a:pPr defTabSz="912704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3695828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-7535" y="6089"/>
            <a:ext cx="12190413" cy="182563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2" tIns="45639" rIns="91282" bIns="45639" rtlCol="0" anchor="ctr"/>
          <a:lstStyle/>
          <a:p>
            <a:pPr algn="ctr" defTabSz="912704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" name="矩形 5"/>
          <p:cNvSpPr/>
          <p:nvPr userDrawn="1"/>
        </p:nvSpPr>
        <p:spPr>
          <a:xfrm>
            <a:off x="3054" y="6675449"/>
            <a:ext cx="12190413" cy="182563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2" tIns="45639" rIns="91282" bIns="45639" rtlCol="0" anchor="ctr"/>
          <a:lstStyle/>
          <a:p>
            <a:pPr algn="ctr" defTabSz="912704"/>
            <a:endParaRPr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0205544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标题和内容">
    <p:bg>
      <p:bgPr>
        <a:solidFill>
          <a:srgbClr val="1E3E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623311" y="6309332"/>
            <a:ext cx="284443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ED80DD-7748-489F-BF09-D2279964234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067" y="6356360"/>
            <a:ext cx="386029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6463" y="6356360"/>
            <a:ext cx="2844430" cy="365125"/>
          </a:xfrm>
          <a:prstGeom prst="rect">
            <a:avLst/>
          </a:prstGeom>
        </p:spPr>
        <p:txBody>
          <a:bodyPr lIns="121684" tIns="60843" rIns="121684" bIns="60843"/>
          <a:lstStyle>
            <a:lvl1pPr>
              <a:defRPr/>
            </a:lvl1pPr>
          </a:lstStyle>
          <a:p>
            <a:pPr defTabSz="912704">
              <a:defRPr/>
            </a:pPr>
            <a:fld id="{F73A98B2-3ED3-414E-8590-C97E1EC14218}" type="slidenum">
              <a:rPr lang="zh-CN" altLang="en-US" smtClean="0">
                <a:solidFill>
                  <a:prstClr val="black"/>
                </a:solidFill>
              </a:rPr>
              <a:pPr defTabSz="912704">
                <a:defRPr/>
              </a:pPr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5354062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097" y="365129"/>
            <a:ext cx="10514233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097" y="1825625"/>
            <a:ext cx="10514233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200BB9-8E63-4B90-AA38-83712F48610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09483" y="6356364"/>
            <a:ext cx="2742843" cy="365125"/>
          </a:xfrm>
          <a:prstGeom prst="rect">
            <a:avLst/>
          </a:prstGeom>
        </p:spPr>
        <p:txBody>
          <a:bodyPr/>
          <a:lstStyle/>
          <a:p>
            <a:pPr defTabSz="912704"/>
            <a:fld id="{B631DAA3-471C-4268-9785-E056DCED3648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912704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99675231"/>
      </p:ext>
    </p:extLst>
  </p:cSld>
  <p:clrMapOvr>
    <a:masterClrMapping/>
  </p:clrMapOvr>
  <p:transition spd="slow">
    <p:push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521" y="274639"/>
            <a:ext cx="10971372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EC2BC-36AB-4E1B-9BA6-C928A8E4F56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6463" y="6356368"/>
            <a:ext cx="2844430" cy="365125"/>
          </a:xfrm>
          <a:prstGeom prst="rect">
            <a:avLst/>
          </a:prstGeom>
        </p:spPr>
        <p:txBody>
          <a:bodyPr/>
          <a:lstStyle/>
          <a:p>
            <a:pPr defTabSz="912704"/>
            <a:fld id="{F633731A-6AD5-46E1-9D66-78685EADC15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912704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10715732"/>
      </p:ext>
    </p:extLst>
  </p:cSld>
  <p:clrMapOvr>
    <a:masterClrMapping/>
  </p:clrMapOvr>
  <p:transition spd="slow">
    <p:push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EC2BC-36AB-4E1B-9BA6-C928A8E4F56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>
                <a:solidFill>
                  <a:prstClr val="black">
                    <a:tint val="75000"/>
                  </a:prstClr>
                </a:solidFill>
              </a:rPr>
              <a:t>Design by Nick</a:t>
            </a:r>
            <a:fld id="{F633731A-6AD5-46E1-9D66-78685EADC15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0310718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EC2BC-36AB-4E1B-9BA6-C928A8E4F56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33731A-6AD5-46E1-9D66-78685EADC15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86568433"/>
      </p:ext>
    </p:extLst>
  </p:cSld>
  <p:clrMapOvr>
    <a:masterClrMapping/>
  </p:clrMapOvr>
  <p:transition spd="slow">
    <p:push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占位符 1"/>
          <p:cNvSpPr>
            <a:spLocks noGrp="1"/>
          </p:cNvSpPr>
          <p:nvPr>
            <p:ph type="title"/>
          </p:nvPr>
        </p:nvSpPr>
        <p:spPr bwMode="auto">
          <a:xfrm>
            <a:off x="6691929" y="3044957"/>
            <a:ext cx="4107188" cy="6096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4000" b="1">
                <a:solidFill>
                  <a:schemeClr val="tx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pPr lvl="0"/>
            <a:r>
              <a:rPr lang="zh-CN" altLang="en-US" dirty="0" smtClean="0"/>
              <a:t>单击此处编辑母版标题样式</a:t>
            </a:r>
          </a:p>
        </p:txBody>
      </p:sp>
      <p:sp>
        <p:nvSpPr>
          <p:cNvPr id="16" name="矩形 15"/>
          <p:cNvSpPr/>
          <p:nvPr userDrawn="1"/>
        </p:nvSpPr>
        <p:spPr>
          <a:xfrm>
            <a:off x="0" y="5512"/>
            <a:ext cx="12190413" cy="44715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/>
            <a:endParaRPr lang="zh-CN" altLang="en-US" sz="2400">
              <a:solidFill>
                <a:prstClr val="white"/>
              </a:solidFill>
            </a:endParaRPr>
          </a:p>
        </p:txBody>
      </p:sp>
      <p:sp>
        <p:nvSpPr>
          <p:cNvPr id="17" name="矩形 16"/>
          <p:cNvSpPr/>
          <p:nvPr userDrawn="1"/>
        </p:nvSpPr>
        <p:spPr>
          <a:xfrm>
            <a:off x="0" y="6405331"/>
            <a:ext cx="12190413" cy="48005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/>
            <a:endParaRPr lang="zh-CN" altLang="en-US" sz="2400">
              <a:solidFill>
                <a:prstClr val="white"/>
              </a:solidFill>
            </a:endParaRPr>
          </a:p>
        </p:txBody>
      </p:sp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13846" y="2372884"/>
            <a:ext cx="3599525" cy="2160727"/>
          </a:xfrm>
          <a:prstGeom prst="rect">
            <a:avLst/>
          </a:prstGeom>
        </p:spPr>
      </p:pic>
      <p:cxnSp>
        <p:nvCxnSpPr>
          <p:cNvPr id="19" name="直接连接符 18"/>
          <p:cNvCxnSpPr/>
          <p:nvPr userDrawn="1"/>
        </p:nvCxnSpPr>
        <p:spPr>
          <a:xfrm>
            <a:off x="5039227" y="2660915"/>
            <a:ext cx="0" cy="153617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29640719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未标题-2-01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8252"/>
            <a:ext cx="12230512" cy="6864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521" y="274637"/>
            <a:ext cx="9229614" cy="754096"/>
          </a:xfrm>
          <a:prstGeom prst="rect">
            <a:avLst/>
          </a:prstGeom>
        </p:spPr>
        <p:txBody>
          <a:bodyPr/>
          <a:lstStyle>
            <a:lvl1pPr algn="l">
              <a:defRPr sz="3733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4260877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119566" y="478218"/>
            <a:ext cx="8447543" cy="83858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E60013"/>
              </a:buClr>
              <a:defRPr/>
            </a:lvl1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7872835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未标题-2-01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t="97674"/>
          <a:stretch/>
        </p:blipFill>
        <p:spPr>
          <a:xfrm>
            <a:off x="0" y="6712607"/>
            <a:ext cx="12230512" cy="159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98249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封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未标题-1-01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9291"/>
            <a:ext cx="12234234" cy="6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72901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42562225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8531411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12" y="0"/>
            <a:ext cx="121904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57" tIns="60879" rIns="121757" bIns="60879" rtlCol="0" anchor="ctr"/>
          <a:lstStyle/>
          <a:p>
            <a:pPr algn="ctr" defTabSz="1217556"/>
            <a:endParaRPr lang="zh-CN" altLang="en-US" sz="2400">
              <a:solidFill>
                <a:prstClr val="white"/>
              </a:solidFill>
            </a:endParaRPr>
          </a:p>
        </p:txBody>
      </p:sp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8720176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标题和内容">
    <p:bg>
      <p:bgPr>
        <a:solidFill>
          <a:srgbClr val="1E3E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623311" y="6309336"/>
            <a:ext cx="284443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ED80DD-7748-489F-BF09-D2279964234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070" y="6356368"/>
            <a:ext cx="386029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6463" y="6356368"/>
            <a:ext cx="284443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3A98B2-3ED3-414E-8590-C97E1EC14218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543975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heme" Target="../theme/theme10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62.xml"/><Relationship Id="rId4" Type="http://schemas.openxmlformats.org/officeDocument/2006/relationships/slideLayout" Target="../slideLayouts/slideLayout6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8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2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7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5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521" y="6356368"/>
            <a:ext cx="2844430" cy="365125"/>
          </a:xfrm>
          <a:prstGeom prst="rect">
            <a:avLst/>
          </a:prstGeom>
        </p:spPr>
        <p:txBody>
          <a:bodyPr vert="horz" lIns="91242" tIns="45618" rIns="91242" bIns="4561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0820CF-B880-4189-942D-D702A7CBA730}" type="datetimeFigureOut">
              <a:rPr lang="zh-CN" altLang="en-US" smtClean="0"/>
              <a:pPr/>
              <a:t>2017/1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071" y="6356368"/>
            <a:ext cx="3860297" cy="365125"/>
          </a:xfrm>
          <a:prstGeom prst="rect">
            <a:avLst/>
          </a:prstGeom>
        </p:spPr>
        <p:txBody>
          <a:bodyPr vert="horz" lIns="91242" tIns="45618" rIns="91242" bIns="4561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  <p:sldLayoutId id="2147483656" r:id="rId4"/>
  </p:sldLayoutIdLst>
  <p:transition spd="slow">
    <p:push/>
  </p:transition>
  <p:timing>
    <p:tnLst>
      <p:par>
        <p:cTn id="1" dur="indefinite" restart="never" nodeType="tmRoot"/>
      </p:par>
    </p:tnLst>
  </p:timing>
  <p:txStyles>
    <p:titleStyle>
      <a:lvl1pPr algn="ctr" defTabSz="912247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100" indent="-342100" algn="l" defTabSz="912247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209" indent="-285086" algn="l" defTabSz="912247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319" indent="-228065" algn="l" defTabSz="91224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6440" indent="-228065" algn="l" defTabSz="91224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2571" indent="-228065" algn="l" defTabSz="91224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8689" indent="-228065" algn="l" defTabSz="9122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4830" indent="-228065" algn="l" defTabSz="9122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947" indent="-228065" algn="l" defTabSz="9122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7072" indent="-228065" algn="l" defTabSz="9122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22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30" algn="l" defTabSz="9122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2247" algn="l" defTabSz="9122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390" algn="l" defTabSz="9122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506" algn="l" defTabSz="9122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635" algn="l" defTabSz="9122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761" algn="l" defTabSz="9122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2883" algn="l" defTabSz="9122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014" algn="l" defTabSz="9122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521" y="274638"/>
            <a:ext cx="10971372" cy="1143000"/>
          </a:xfrm>
          <a:prstGeom prst="rect">
            <a:avLst/>
          </a:prstGeom>
        </p:spPr>
        <p:txBody>
          <a:bodyPr vert="horz" lIns="119547" tIns="59773" rIns="119547" bIns="59773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521" y="1600202"/>
            <a:ext cx="10971372" cy="4525963"/>
          </a:xfrm>
          <a:prstGeom prst="rect">
            <a:avLst/>
          </a:prstGeom>
        </p:spPr>
        <p:txBody>
          <a:bodyPr vert="horz" lIns="119547" tIns="59773" rIns="119547" bIns="59773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521" y="6356353"/>
            <a:ext cx="2844430" cy="365125"/>
          </a:xfrm>
          <a:prstGeom prst="rect">
            <a:avLst/>
          </a:prstGeom>
        </p:spPr>
        <p:txBody>
          <a:bodyPr vert="horz" lIns="119547" tIns="59773" rIns="119547" bIns="59773" rtlCol="0" anchor="ctr"/>
          <a:lstStyle>
            <a:lvl1pPr algn="l">
              <a:defRPr sz="156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71803"/>
            <a:fld id="{4D3EC2BC-36AB-4E1B-9BA6-C928A8E4F56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171803"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058" y="6356353"/>
            <a:ext cx="3860297" cy="365125"/>
          </a:xfrm>
          <a:prstGeom prst="rect">
            <a:avLst/>
          </a:prstGeom>
        </p:spPr>
        <p:txBody>
          <a:bodyPr vert="horz" lIns="119547" tIns="59773" rIns="119547" bIns="59773" rtlCol="0" anchor="ctr"/>
          <a:lstStyle>
            <a:lvl1pPr algn="ctr">
              <a:defRPr sz="156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71803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6462" y="6356353"/>
            <a:ext cx="2844430" cy="365125"/>
          </a:xfrm>
          <a:prstGeom prst="rect">
            <a:avLst/>
          </a:prstGeom>
        </p:spPr>
        <p:txBody>
          <a:bodyPr vert="horz" lIns="119547" tIns="59773" rIns="119547" bIns="59773" rtlCol="0" anchor="ctr"/>
          <a:lstStyle>
            <a:lvl1pPr algn="r">
              <a:defRPr sz="156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71803"/>
            <a:fld id="{F633731A-6AD5-46E1-9D66-78685EADC15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171803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44007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</p:sldLayoutIdLst>
  <p:transition spd="slow">
    <p:push/>
  </p:transition>
  <p:txStyles>
    <p:titleStyle>
      <a:lvl1pPr algn="ctr" defTabSz="1171803" rtl="0" eaLnBrk="1" latinLnBrk="0" hangingPunct="1">
        <a:spcBef>
          <a:spcPct val="0"/>
        </a:spcBef>
        <a:buNone/>
        <a:defRPr sz="568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9427" indent="-439427" algn="l" defTabSz="1171803" rtl="0" eaLnBrk="1" latinLnBrk="0" hangingPunct="1">
        <a:spcBef>
          <a:spcPct val="20000"/>
        </a:spcBef>
        <a:buFont typeface="Arial" pitchFamily="34" charset="0"/>
        <a:buChar char="•"/>
        <a:defRPr sz="4117" kern="1200">
          <a:solidFill>
            <a:schemeClr val="tx1"/>
          </a:solidFill>
          <a:latin typeface="+mn-lt"/>
          <a:ea typeface="+mn-ea"/>
          <a:cs typeface="+mn-cs"/>
        </a:defRPr>
      </a:lvl1pPr>
      <a:lvl2pPr marL="952090" indent="-366188" algn="l" defTabSz="1171803" rtl="0" eaLnBrk="1" latinLnBrk="0" hangingPunct="1">
        <a:spcBef>
          <a:spcPct val="20000"/>
        </a:spcBef>
        <a:buFont typeface="Arial" pitchFamily="34" charset="0"/>
        <a:buChar char="–"/>
        <a:defRPr sz="3627" kern="1200">
          <a:solidFill>
            <a:schemeClr val="tx1"/>
          </a:solidFill>
          <a:latin typeface="+mn-lt"/>
          <a:ea typeface="+mn-ea"/>
          <a:cs typeface="+mn-cs"/>
        </a:defRPr>
      </a:lvl2pPr>
      <a:lvl3pPr marL="1464754" indent="-292951" algn="l" defTabSz="1171803" rtl="0" eaLnBrk="1" latinLnBrk="0" hangingPunct="1">
        <a:spcBef>
          <a:spcPct val="20000"/>
        </a:spcBef>
        <a:buFont typeface="Arial" pitchFamily="34" charset="0"/>
        <a:buChar char="•"/>
        <a:defRPr sz="3039" kern="1200">
          <a:solidFill>
            <a:schemeClr val="tx1"/>
          </a:solidFill>
          <a:latin typeface="+mn-lt"/>
          <a:ea typeface="+mn-ea"/>
          <a:cs typeface="+mn-cs"/>
        </a:defRPr>
      </a:lvl3pPr>
      <a:lvl4pPr marL="2050656" indent="-292951" algn="l" defTabSz="1171803" rtl="0" eaLnBrk="1" latinLnBrk="0" hangingPunct="1">
        <a:spcBef>
          <a:spcPct val="20000"/>
        </a:spcBef>
        <a:buFont typeface="Arial" pitchFamily="34" charset="0"/>
        <a:buChar char="–"/>
        <a:defRPr sz="2549" kern="1200">
          <a:solidFill>
            <a:schemeClr val="tx1"/>
          </a:solidFill>
          <a:latin typeface="+mn-lt"/>
          <a:ea typeface="+mn-ea"/>
          <a:cs typeface="+mn-cs"/>
        </a:defRPr>
      </a:lvl4pPr>
      <a:lvl5pPr marL="2636558" indent="-292951" algn="l" defTabSz="1171803" rtl="0" eaLnBrk="1" latinLnBrk="0" hangingPunct="1">
        <a:spcBef>
          <a:spcPct val="20000"/>
        </a:spcBef>
        <a:buFont typeface="Arial" pitchFamily="34" charset="0"/>
        <a:buChar char="»"/>
        <a:defRPr sz="2549" kern="1200">
          <a:solidFill>
            <a:schemeClr val="tx1"/>
          </a:solidFill>
          <a:latin typeface="+mn-lt"/>
          <a:ea typeface="+mn-ea"/>
          <a:cs typeface="+mn-cs"/>
        </a:defRPr>
      </a:lvl5pPr>
      <a:lvl6pPr marL="3222460" indent="-292951" algn="l" defTabSz="1171803" rtl="0" eaLnBrk="1" latinLnBrk="0" hangingPunct="1">
        <a:spcBef>
          <a:spcPct val="20000"/>
        </a:spcBef>
        <a:buFont typeface="Arial" pitchFamily="34" charset="0"/>
        <a:buChar char="•"/>
        <a:defRPr sz="2549" kern="1200">
          <a:solidFill>
            <a:schemeClr val="tx1"/>
          </a:solidFill>
          <a:latin typeface="+mn-lt"/>
          <a:ea typeface="+mn-ea"/>
          <a:cs typeface="+mn-cs"/>
        </a:defRPr>
      </a:lvl6pPr>
      <a:lvl7pPr marL="3808360" indent="-292951" algn="l" defTabSz="1171803" rtl="0" eaLnBrk="1" latinLnBrk="0" hangingPunct="1">
        <a:spcBef>
          <a:spcPct val="20000"/>
        </a:spcBef>
        <a:buFont typeface="Arial" pitchFamily="34" charset="0"/>
        <a:buChar char="•"/>
        <a:defRPr sz="2549" kern="1200">
          <a:solidFill>
            <a:schemeClr val="tx1"/>
          </a:solidFill>
          <a:latin typeface="+mn-lt"/>
          <a:ea typeface="+mn-ea"/>
          <a:cs typeface="+mn-cs"/>
        </a:defRPr>
      </a:lvl7pPr>
      <a:lvl8pPr marL="4394263" indent="-292951" algn="l" defTabSz="1171803" rtl="0" eaLnBrk="1" latinLnBrk="0" hangingPunct="1">
        <a:spcBef>
          <a:spcPct val="20000"/>
        </a:spcBef>
        <a:buFont typeface="Arial" pitchFamily="34" charset="0"/>
        <a:buChar char="•"/>
        <a:defRPr sz="2549" kern="1200">
          <a:solidFill>
            <a:schemeClr val="tx1"/>
          </a:solidFill>
          <a:latin typeface="+mn-lt"/>
          <a:ea typeface="+mn-ea"/>
          <a:cs typeface="+mn-cs"/>
        </a:defRPr>
      </a:lvl8pPr>
      <a:lvl9pPr marL="4980164" indent="-292951" algn="l" defTabSz="1171803" rtl="0" eaLnBrk="1" latinLnBrk="0" hangingPunct="1">
        <a:spcBef>
          <a:spcPct val="20000"/>
        </a:spcBef>
        <a:buFont typeface="Arial" pitchFamily="34" charset="0"/>
        <a:buChar char="•"/>
        <a:defRPr sz="25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171803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85903" algn="l" defTabSz="1171803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71803" algn="l" defTabSz="1171803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57705" algn="l" defTabSz="1171803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43606" algn="l" defTabSz="1171803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29509" algn="l" defTabSz="1171803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15410" algn="l" defTabSz="1171803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01312" algn="l" defTabSz="1171803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687213" algn="l" defTabSz="1171803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168259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</p:sldLayoutIdLst>
  <p:timing>
    <p:tnLst>
      <p:par>
        <p:cTn id="1" dur="indefinite" restart="never" nodeType="tmRoot"/>
      </p:par>
    </p:tnLst>
  </p:timing>
  <p:txStyles>
    <p:titleStyle>
      <a:lvl1pPr algn="ctr" defTabSz="1219078" rtl="0" eaLnBrk="1" latinLnBrk="0" hangingPunct="1">
        <a:spcBef>
          <a:spcPct val="0"/>
        </a:spcBef>
        <a:buNone/>
        <a:defRPr sz="586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54" indent="-457154" algn="l" defTabSz="1219078" rtl="0" eaLnBrk="1" latinLnBrk="0" hangingPunct="1">
        <a:spcBef>
          <a:spcPct val="20000"/>
        </a:spcBef>
        <a:buFont typeface="Arial" pitchFamily="34" charset="0"/>
        <a:buChar char="•"/>
        <a:defRPr sz="4266" kern="1200">
          <a:solidFill>
            <a:schemeClr val="tx1"/>
          </a:solidFill>
          <a:latin typeface="+mn-lt"/>
          <a:ea typeface="+mn-ea"/>
          <a:cs typeface="+mn-cs"/>
        </a:defRPr>
      </a:lvl1pPr>
      <a:lvl2pPr marL="990501" indent="-380962" algn="l" defTabSz="1219078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848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387" indent="-304770" algn="l" defTabSz="1219078" rtl="0" eaLnBrk="1" latinLnBrk="0" hangingPunct="1">
        <a:spcBef>
          <a:spcPct val="20000"/>
        </a:spcBef>
        <a:buFont typeface="Arial" pitchFamily="34" charset="0"/>
        <a:buChar char="–"/>
        <a:defRPr sz="2666" kern="1200">
          <a:solidFill>
            <a:schemeClr val="tx1"/>
          </a:solidFill>
          <a:latin typeface="+mn-lt"/>
          <a:ea typeface="+mn-ea"/>
          <a:cs typeface="+mn-cs"/>
        </a:defRPr>
      </a:lvl4pPr>
      <a:lvl5pPr marL="2742926" indent="-304770" algn="l" defTabSz="1219078" rtl="0" eaLnBrk="1" latinLnBrk="0" hangingPunct="1">
        <a:spcBef>
          <a:spcPct val="20000"/>
        </a:spcBef>
        <a:buFont typeface="Arial" pitchFamily="34" charset="0"/>
        <a:buChar char="»"/>
        <a:defRPr sz="2666" kern="1200">
          <a:solidFill>
            <a:schemeClr val="tx1"/>
          </a:solidFill>
          <a:latin typeface="+mn-lt"/>
          <a:ea typeface="+mn-ea"/>
          <a:cs typeface="+mn-cs"/>
        </a:defRPr>
      </a:lvl5pPr>
      <a:lvl6pPr marL="3352465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4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3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521" y="1508830"/>
            <a:ext cx="10971372" cy="4617377"/>
          </a:xfrm>
          <a:prstGeom prst="rect">
            <a:avLst/>
          </a:prstGeom>
        </p:spPr>
        <p:txBody>
          <a:bodyPr vert="horz" lIns="121757" tIns="60879" rIns="121757" bIns="60879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521" y="6356368"/>
            <a:ext cx="2844430" cy="365125"/>
          </a:xfrm>
          <a:prstGeom prst="rect">
            <a:avLst/>
          </a:prstGeom>
        </p:spPr>
        <p:txBody>
          <a:bodyPr vert="horz" lIns="121757" tIns="60879" rIns="121757" bIns="6087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7556"/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217556"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070" y="6356368"/>
            <a:ext cx="3860297" cy="365125"/>
          </a:xfrm>
          <a:prstGeom prst="rect">
            <a:avLst/>
          </a:prstGeom>
        </p:spPr>
        <p:txBody>
          <a:bodyPr vert="horz" lIns="121757" tIns="60879" rIns="121757" bIns="6087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7556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6463" y="6356368"/>
            <a:ext cx="2844430" cy="365125"/>
          </a:xfrm>
          <a:prstGeom prst="rect">
            <a:avLst/>
          </a:prstGeom>
        </p:spPr>
        <p:txBody>
          <a:bodyPr vert="horz" lIns="121757" tIns="60879" rIns="121757" bIns="6087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7556"/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217556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65984" y="478218"/>
            <a:ext cx="11001120" cy="838585"/>
          </a:xfrm>
          <a:prstGeom prst="rect">
            <a:avLst/>
          </a:prstGeom>
        </p:spPr>
        <p:txBody>
          <a:bodyPr vert="horz" lIns="121757" tIns="60879" rIns="121757" bIns="60879" rtlCol="0" anchor="ctr">
            <a:no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3517672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</p:sldLayoutIdLst>
  <p:transition spd="slow">
    <p:push/>
  </p:transition>
  <p:timing>
    <p:tnLst>
      <p:par>
        <p:cTn id="1" dur="indefinite" restart="never" nodeType="tmRoot"/>
      </p:par>
    </p:tnLst>
  </p:timing>
  <p:txStyles>
    <p:titleStyle>
      <a:lvl1pPr algn="ctr" defTabSz="1217556" rtl="0" eaLnBrk="1" latinLnBrk="0" hangingPunct="1">
        <a:spcBef>
          <a:spcPct val="0"/>
        </a:spcBef>
        <a:buNone/>
        <a:defRPr sz="3700" b="1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456584" indent="-456584" algn="l" defTabSz="1217556" rtl="0" eaLnBrk="1" latinLnBrk="0" hangingPunct="1">
        <a:spcBef>
          <a:spcPct val="20000"/>
        </a:spcBef>
        <a:buClr>
          <a:srgbClr val="E60013"/>
        </a:buClr>
        <a:buFont typeface="Wingdings" pitchFamily="2" charset="2"/>
        <a:buChar char="l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89262" indent="-380487" algn="l" defTabSz="1217556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521942" indent="-304390" algn="l" defTabSz="1217556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2130722" indent="-304390" algn="l" defTabSz="1217556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739495" indent="-304390" algn="l" defTabSz="1217556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48273" indent="-304390" algn="l" defTabSz="1217556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57044" indent="-304390" algn="l" defTabSz="1217556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65826" indent="-304390" algn="l" defTabSz="1217556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74600" indent="-304390" algn="l" defTabSz="1217556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75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782" algn="l" defTabSz="12175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7556" algn="l" defTabSz="12175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6329" algn="l" defTabSz="12175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5104" algn="l" defTabSz="12175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3882" algn="l" defTabSz="12175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2657" algn="l" defTabSz="12175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1434" algn="l" defTabSz="12175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0209" algn="l" defTabSz="12175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521" y="1508815"/>
            <a:ext cx="10971372" cy="4617377"/>
          </a:xfrm>
          <a:prstGeom prst="rect">
            <a:avLst/>
          </a:prstGeom>
        </p:spPr>
        <p:txBody>
          <a:bodyPr vert="horz" lIns="121825" tIns="60913" rIns="121825" bIns="60913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521" y="6356364"/>
            <a:ext cx="2844430" cy="365125"/>
          </a:xfrm>
          <a:prstGeom prst="rect">
            <a:avLst/>
          </a:prstGeom>
        </p:spPr>
        <p:txBody>
          <a:bodyPr vert="horz" lIns="121825" tIns="60913" rIns="121825" bIns="60913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247"/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218247"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063" y="6356364"/>
            <a:ext cx="3860297" cy="365125"/>
          </a:xfrm>
          <a:prstGeom prst="rect">
            <a:avLst/>
          </a:prstGeom>
        </p:spPr>
        <p:txBody>
          <a:bodyPr vert="horz" lIns="121825" tIns="60913" rIns="121825" bIns="60913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247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6463" y="6356364"/>
            <a:ext cx="2844430" cy="365125"/>
          </a:xfrm>
          <a:prstGeom prst="rect">
            <a:avLst/>
          </a:prstGeom>
        </p:spPr>
        <p:txBody>
          <a:bodyPr vert="horz" lIns="121825" tIns="60913" rIns="121825" bIns="60913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247"/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218247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65984" y="478213"/>
            <a:ext cx="11001120" cy="838585"/>
          </a:xfrm>
          <a:prstGeom prst="rect">
            <a:avLst/>
          </a:prstGeom>
        </p:spPr>
        <p:txBody>
          <a:bodyPr vert="horz" lIns="121825" tIns="60913" rIns="121825" bIns="60913" rtlCol="0" anchor="ctr">
            <a:no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2369174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</p:sldLayoutIdLst>
  <p:transition spd="slow">
    <p:push/>
  </p:transition>
  <p:timing>
    <p:tnLst>
      <p:par>
        <p:cTn id="1" dur="indefinite" restart="never" nodeType="tmRoot"/>
      </p:par>
    </p:tnLst>
  </p:timing>
  <p:txStyles>
    <p:titleStyle>
      <a:lvl1pPr algn="ctr" defTabSz="1218247" rtl="0" eaLnBrk="1" latinLnBrk="0" hangingPunct="1">
        <a:spcBef>
          <a:spcPct val="0"/>
        </a:spcBef>
        <a:buNone/>
        <a:defRPr sz="3700" b="1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456844" indent="-456844" algn="l" defTabSz="1218247" rtl="0" eaLnBrk="1" latinLnBrk="0" hangingPunct="1">
        <a:spcBef>
          <a:spcPct val="20000"/>
        </a:spcBef>
        <a:buClr>
          <a:srgbClr val="E60013"/>
        </a:buClr>
        <a:buFont typeface="Wingdings" pitchFamily="2" charset="2"/>
        <a:buChar char="l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89828" indent="-380703" algn="l" defTabSz="1218247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522810" indent="-304564" algn="l" defTabSz="121824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2131932" indent="-304564" algn="l" defTabSz="1218247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741057" indent="-304564" algn="l" defTabSz="1218247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0180" indent="-304564" algn="l" defTabSz="121824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59303" indent="-304564" algn="l" defTabSz="121824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68430" indent="-304564" algn="l" defTabSz="121824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77549" indent="-304564" algn="l" defTabSz="121824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82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126" algn="l" defTabSz="12182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247" algn="l" defTabSz="12182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372" algn="l" defTabSz="12182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492" algn="l" defTabSz="12182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618" algn="l" defTabSz="12182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741" algn="l" defTabSz="12182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864" algn="l" defTabSz="12182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987" algn="l" defTabSz="12182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521" y="274639"/>
            <a:ext cx="10971372" cy="1143000"/>
          </a:xfrm>
          <a:prstGeom prst="rect">
            <a:avLst/>
          </a:prstGeom>
        </p:spPr>
        <p:txBody>
          <a:bodyPr vert="horz" lIns="117123" tIns="58561" rIns="117123" bIns="58561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521" y="1600206"/>
            <a:ext cx="10971372" cy="4525963"/>
          </a:xfrm>
          <a:prstGeom prst="rect">
            <a:avLst/>
          </a:prstGeom>
        </p:spPr>
        <p:txBody>
          <a:bodyPr vert="horz" lIns="117123" tIns="58561" rIns="117123" bIns="58561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521" y="6356364"/>
            <a:ext cx="2844430" cy="365125"/>
          </a:xfrm>
          <a:prstGeom prst="rect">
            <a:avLst/>
          </a:prstGeom>
        </p:spPr>
        <p:txBody>
          <a:bodyPr vert="horz" lIns="117123" tIns="58561" rIns="117123" bIns="58561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71226"/>
            <a:fld id="{4D3EC2BC-36AB-4E1B-9BA6-C928A8E4F56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171226"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062" y="6356364"/>
            <a:ext cx="3860297" cy="365125"/>
          </a:xfrm>
          <a:prstGeom prst="rect">
            <a:avLst/>
          </a:prstGeom>
        </p:spPr>
        <p:txBody>
          <a:bodyPr vert="horz" lIns="117123" tIns="58561" rIns="117123" bIns="58561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71226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6463" y="6356364"/>
            <a:ext cx="2844430" cy="365125"/>
          </a:xfrm>
          <a:prstGeom prst="rect">
            <a:avLst/>
          </a:prstGeom>
        </p:spPr>
        <p:txBody>
          <a:bodyPr vert="horz" lIns="117123" tIns="58561" rIns="117123" bIns="58561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71226"/>
            <a:fld id="{F633731A-6AD5-46E1-9D66-78685EADC15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171226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12917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</p:sldLayoutIdLst>
  <p:transition spd="slow">
    <p:push/>
  </p:transition>
  <p:txStyles>
    <p:titleStyle>
      <a:lvl1pPr algn="ctr" defTabSz="1171226" rtl="0" eaLnBrk="1" latinLnBrk="0" hangingPunct="1">
        <a:spcBef>
          <a:spcPct val="0"/>
        </a:spcBef>
        <a:buNone/>
        <a:defRPr sz="5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9209" indent="-439209" algn="l" defTabSz="1171226" rtl="0" eaLnBrk="1" latinLnBrk="0" hangingPunct="1">
        <a:spcBef>
          <a:spcPct val="20000"/>
        </a:spcBef>
        <a:buFont typeface="Arial" pitchFamily="34" charset="0"/>
        <a:buChar char="•"/>
        <a:defRPr sz="4100" kern="1200">
          <a:solidFill>
            <a:schemeClr val="tx1"/>
          </a:solidFill>
          <a:latin typeface="+mn-lt"/>
          <a:ea typeface="+mn-ea"/>
          <a:cs typeface="+mn-cs"/>
        </a:defRPr>
      </a:lvl1pPr>
      <a:lvl2pPr marL="951619" indent="-366010" algn="l" defTabSz="1171226" rtl="0" eaLnBrk="1" latinLnBrk="0" hangingPunct="1">
        <a:spcBef>
          <a:spcPct val="20000"/>
        </a:spcBef>
        <a:buFont typeface="Arial" pitchFamily="34" charset="0"/>
        <a:buChar char="–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464034" indent="-292808" algn="l" defTabSz="1171226" rtl="0" eaLnBrk="1" latinLnBrk="0" hangingPunct="1">
        <a:spcBef>
          <a:spcPct val="20000"/>
        </a:spcBef>
        <a:buFont typeface="Arial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3pPr>
      <a:lvl4pPr marL="2049650" indent="-292808" algn="l" defTabSz="1171226" rtl="0" eaLnBrk="1" latinLnBrk="0" hangingPunct="1">
        <a:spcBef>
          <a:spcPct val="20000"/>
        </a:spcBef>
        <a:buFont typeface="Arial" pitchFamily="34" charset="0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635260" indent="-292808" algn="l" defTabSz="1171226" rtl="0" eaLnBrk="1" latinLnBrk="0" hangingPunct="1">
        <a:spcBef>
          <a:spcPct val="20000"/>
        </a:spcBef>
        <a:buFont typeface="Arial" pitchFamily="34" charset="0"/>
        <a:buChar char="»"/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220877" indent="-292808" algn="l" defTabSz="1171226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06490" indent="-292808" algn="l" defTabSz="1171226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392099" indent="-292808" algn="l" defTabSz="1171226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977713" indent="-292808" algn="l" defTabSz="1171226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1712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615" algn="l" defTabSz="11712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71226" algn="l" defTabSz="11712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56840" algn="l" defTabSz="11712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42454" algn="l" defTabSz="11712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28070" algn="l" defTabSz="11712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13679" algn="l" defTabSz="11712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99295" algn="l" defTabSz="11712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84910" algn="l" defTabSz="11712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9180" y="228629"/>
            <a:ext cx="11150466" cy="609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9181" y="1447803"/>
            <a:ext cx="11150464" cy="20005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1594004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</p:sldLayoutIdLst>
  <p:transition spd="slow">
    <p:push/>
  </p:transition>
  <p:timing>
    <p:tnLst>
      <p:par>
        <p:cTn id="1" dur="indefinite" restart="never" nodeType="tmRoot"/>
      </p:par>
    </p:tnLst>
  </p:timing>
  <p:txStyles>
    <p:titleStyle>
      <a:lvl1pPr algn="l" defTabSz="913431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gradFill flip="none" rotWithShape="1"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  <a:tileRect/>
          </a:gradFill>
          <a:effectLst/>
          <a:latin typeface="+mj-lt"/>
          <a:ea typeface="+mn-ea"/>
          <a:cs typeface="Arial" charset="0"/>
        </a:defRPr>
      </a:lvl1pPr>
    </p:titleStyle>
    <p:bodyStyle>
      <a:lvl1pPr marL="459901" indent="-459901" algn="l" defTabSz="913431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20"/>
        </a:buBlip>
        <a:defRPr sz="32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1pPr>
      <a:lvl2pPr marL="854791" indent="-394890" algn="l" defTabSz="913431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20"/>
        </a:buBlip>
        <a:defRPr sz="28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1257616" indent="-402825" algn="l" defTabSz="913431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20"/>
        </a:buBlip>
        <a:defRPr sz="24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603334" indent="-345720" algn="l" defTabSz="913431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20"/>
        </a:buBlip>
        <a:defRPr sz="20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939549" indent="-336210" algn="l" defTabSz="913431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20"/>
        </a:buBlip>
        <a:defRPr sz="20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1947" indent="-228361" algn="l" defTabSz="91343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662" indent="-228361" algn="l" defTabSz="91343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379" indent="-228361" algn="l" defTabSz="91343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2097" indent="-228361" algn="l" defTabSz="91343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13" algn="l" defTabSz="9134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431" algn="l" defTabSz="9134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154" algn="l" defTabSz="9134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871" algn="l" defTabSz="9134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581" algn="l" defTabSz="9134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301" algn="l" defTabSz="9134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019" algn="l" defTabSz="9134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743" algn="l" defTabSz="9134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521" y="274639"/>
            <a:ext cx="10971372" cy="1143000"/>
          </a:xfrm>
          <a:prstGeom prst="rect">
            <a:avLst/>
          </a:prstGeom>
        </p:spPr>
        <p:txBody>
          <a:bodyPr vert="horz" lIns="117132" tIns="58565" rIns="117132" bIns="58565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521" y="1600206"/>
            <a:ext cx="10971372" cy="4525963"/>
          </a:xfrm>
          <a:prstGeom prst="rect">
            <a:avLst/>
          </a:prstGeom>
        </p:spPr>
        <p:txBody>
          <a:bodyPr vert="horz" lIns="117132" tIns="58565" rIns="117132" bIns="58565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521" y="6356364"/>
            <a:ext cx="2844430" cy="365125"/>
          </a:xfrm>
          <a:prstGeom prst="rect">
            <a:avLst/>
          </a:prstGeom>
        </p:spPr>
        <p:txBody>
          <a:bodyPr vert="horz" lIns="117132" tIns="58565" rIns="117132" bIns="58565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71338"/>
            <a:fld id="{4D3EC2BC-36AB-4E1B-9BA6-C928A8E4F56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171338"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062" y="6356364"/>
            <a:ext cx="3860297" cy="365125"/>
          </a:xfrm>
          <a:prstGeom prst="rect">
            <a:avLst/>
          </a:prstGeom>
        </p:spPr>
        <p:txBody>
          <a:bodyPr vert="horz" lIns="117132" tIns="58565" rIns="117132" bIns="58565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71338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6463" y="6356364"/>
            <a:ext cx="2844430" cy="365125"/>
          </a:xfrm>
          <a:prstGeom prst="rect">
            <a:avLst/>
          </a:prstGeom>
        </p:spPr>
        <p:txBody>
          <a:bodyPr vert="horz" lIns="117132" tIns="58565" rIns="117132" bIns="58565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71338"/>
            <a:fld id="{F633731A-6AD5-46E1-9D66-78685EADC15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171338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21577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85" r:id="rId3"/>
    <p:sldLayoutId id="2147483798" r:id="rId4"/>
  </p:sldLayoutIdLst>
  <p:transition spd="slow">
    <p:push/>
  </p:transition>
  <p:txStyles>
    <p:titleStyle>
      <a:lvl1pPr algn="ctr" defTabSz="1171338" rtl="0" eaLnBrk="1" latinLnBrk="0" hangingPunct="1">
        <a:spcBef>
          <a:spcPct val="0"/>
        </a:spcBef>
        <a:buNone/>
        <a:defRPr sz="5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9251" indent="-439251" algn="l" defTabSz="1171338" rtl="0" eaLnBrk="1" latinLnBrk="0" hangingPunct="1">
        <a:spcBef>
          <a:spcPct val="20000"/>
        </a:spcBef>
        <a:buFont typeface="Arial" pitchFamily="34" charset="0"/>
        <a:buChar char="•"/>
        <a:defRPr sz="4100" kern="1200">
          <a:solidFill>
            <a:schemeClr val="tx1"/>
          </a:solidFill>
          <a:latin typeface="+mn-lt"/>
          <a:ea typeface="+mn-ea"/>
          <a:cs typeface="+mn-cs"/>
        </a:defRPr>
      </a:lvl1pPr>
      <a:lvl2pPr marL="951707" indent="-366045" algn="l" defTabSz="1171338" rtl="0" eaLnBrk="1" latinLnBrk="0" hangingPunct="1">
        <a:spcBef>
          <a:spcPct val="20000"/>
        </a:spcBef>
        <a:buFont typeface="Arial" pitchFamily="34" charset="0"/>
        <a:buChar char="–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464172" indent="-292835" algn="l" defTabSz="1171338" rtl="0" eaLnBrk="1" latinLnBrk="0" hangingPunct="1">
        <a:spcBef>
          <a:spcPct val="20000"/>
        </a:spcBef>
        <a:buFont typeface="Arial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3pPr>
      <a:lvl4pPr marL="2049842" indent="-292835" algn="l" defTabSz="1171338" rtl="0" eaLnBrk="1" latinLnBrk="0" hangingPunct="1">
        <a:spcBef>
          <a:spcPct val="20000"/>
        </a:spcBef>
        <a:buFont typeface="Arial" pitchFamily="34" charset="0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635507" indent="-292835" algn="l" defTabSz="1171338" rtl="0" eaLnBrk="1" latinLnBrk="0" hangingPunct="1">
        <a:spcBef>
          <a:spcPct val="20000"/>
        </a:spcBef>
        <a:buFont typeface="Arial" pitchFamily="34" charset="0"/>
        <a:buChar char="»"/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221178" indent="-292835" algn="l" defTabSz="1171338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06846" indent="-292835" algn="l" defTabSz="1171338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392511" indent="-292835" algn="l" defTabSz="1171338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978183" indent="-292835" algn="l" defTabSz="1171338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1713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669" algn="l" defTabSz="11713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71338" algn="l" defTabSz="11713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57007" algn="l" defTabSz="11713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42674" algn="l" defTabSz="11713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28346" algn="l" defTabSz="11713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14011" algn="l" defTabSz="11713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99681" algn="l" defTabSz="11713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85350" algn="l" defTabSz="11713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521" y="1508810"/>
            <a:ext cx="10971372" cy="4617377"/>
          </a:xfrm>
          <a:prstGeom prst="rect">
            <a:avLst/>
          </a:prstGeom>
        </p:spPr>
        <p:txBody>
          <a:bodyPr vert="horz" lIns="121908" tIns="60954" rIns="121908" bIns="60954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521" y="6356352"/>
            <a:ext cx="2844430" cy="365125"/>
          </a:xfrm>
          <a:prstGeom prst="rect">
            <a:avLst/>
          </a:prstGeom>
        </p:spPr>
        <p:txBody>
          <a:bodyPr vert="horz" lIns="121908" tIns="60954" rIns="121908" bIns="60954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078"/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219078"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058" y="6356352"/>
            <a:ext cx="3860297" cy="365125"/>
          </a:xfrm>
          <a:prstGeom prst="rect">
            <a:avLst/>
          </a:prstGeom>
        </p:spPr>
        <p:txBody>
          <a:bodyPr vert="horz" lIns="121908" tIns="60954" rIns="121908" bIns="60954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078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6463" y="6356352"/>
            <a:ext cx="2844430" cy="365125"/>
          </a:xfrm>
          <a:prstGeom prst="rect">
            <a:avLst/>
          </a:prstGeom>
        </p:spPr>
        <p:txBody>
          <a:bodyPr vert="horz" lIns="121908" tIns="60954" rIns="121908" bIns="60954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078"/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219078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65984" y="478199"/>
            <a:ext cx="11001120" cy="838585"/>
          </a:xfrm>
          <a:prstGeom prst="rect">
            <a:avLst/>
          </a:prstGeom>
        </p:spPr>
        <p:txBody>
          <a:bodyPr vert="horz" lIns="121908" tIns="60954" rIns="121908" bIns="60954" rtlCol="0" anchor="ctr">
            <a:no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4279177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</p:sldLayoutIdLst>
  <p:transition spd="slow">
    <p:push/>
  </p:transition>
  <p:timing>
    <p:tnLst>
      <p:par>
        <p:cTn id="1" dur="indefinite" restart="never" nodeType="tmRoot"/>
      </p:par>
    </p:tnLst>
  </p:timing>
  <p:txStyles>
    <p:titleStyle>
      <a:lvl1pPr algn="ctr" defTabSz="1219078" rtl="0" eaLnBrk="1" latinLnBrk="0" hangingPunct="1">
        <a:spcBef>
          <a:spcPct val="0"/>
        </a:spcBef>
        <a:buNone/>
        <a:defRPr sz="3700" b="1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457154" indent="-457154" algn="l" defTabSz="1219078" rtl="0" eaLnBrk="1" latinLnBrk="0" hangingPunct="1">
        <a:spcBef>
          <a:spcPct val="20000"/>
        </a:spcBef>
        <a:buClr>
          <a:srgbClr val="E60013"/>
        </a:buClr>
        <a:buFont typeface="Wingdings" pitchFamily="2" charset="2"/>
        <a:buChar char="l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01" indent="-380962" algn="l" defTabSz="1219078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848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387" indent="-304770" algn="l" defTabSz="1219078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742926" indent="-304770" algn="l" defTabSz="1219078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465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4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3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521" y="6356360"/>
            <a:ext cx="2844430" cy="365125"/>
          </a:xfrm>
          <a:prstGeom prst="rect">
            <a:avLst/>
          </a:prstGeom>
        </p:spPr>
        <p:txBody>
          <a:bodyPr vert="horz" lIns="91282" tIns="45639" rIns="91282" bIns="45639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704"/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912704"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067" y="6356360"/>
            <a:ext cx="3860297" cy="365125"/>
          </a:xfrm>
          <a:prstGeom prst="rect">
            <a:avLst/>
          </a:prstGeom>
        </p:spPr>
        <p:txBody>
          <a:bodyPr vert="horz" lIns="91282" tIns="45639" rIns="91282" bIns="45639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704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57092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</p:sldLayoutIdLst>
  <p:transition spd="slow">
    <p:push/>
  </p:transition>
  <p:timing>
    <p:tnLst>
      <p:par>
        <p:cTn id="1" dur="indefinite" restart="never" nodeType="tmRoot"/>
      </p:par>
    </p:tnLst>
  </p:timing>
  <p:txStyles>
    <p:titleStyle>
      <a:lvl1pPr algn="ctr" defTabSz="91270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270" indent="-342270" algn="l" defTabSz="91270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579" indent="-285227" algn="l" defTabSz="912704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89" indent="-228179" algn="l" defTabSz="91270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240" indent="-228179" algn="l" defTabSz="912704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3597" indent="-228179" algn="l" defTabSz="912704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9943" indent="-228179" algn="l" defTabSz="9127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6311" indent="-228179" algn="l" defTabSz="9127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2656" indent="-228179" algn="l" defTabSz="9127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9012" indent="-228179" algn="l" defTabSz="9127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27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7" algn="l" defTabSz="9127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04" algn="l" defTabSz="9127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2" algn="l" defTabSz="9127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18" algn="l" defTabSz="9127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74" algn="l" defTabSz="9127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28" algn="l" defTabSz="9127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80" algn="l" defTabSz="9127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35" algn="l" defTabSz="9127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521" y="6356360"/>
            <a:ext cx="2844430" cy="365125"/>
          </a:xfrm>
          <a:prstGeom prst="rect">
            <a:avLst/>
          </a:prstGeom>
        </p:spPr>
        <p:txBody>
          <a:bodyPr vert="horz" lIns="91282" tIns="45639" rIns="91282" bIns="45639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704"/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912704"/>
              <a:t>2017/1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067" y="6356360"/>
            <a:ext cx="3860297" cy="365125"/>
          </a:xfrm>
          <a:prstGeom prst="rect">
            <a:avLst/>
          </a:prstGeom>
        </p:spPr>
        <p:txBody>
          <a:bodyPr vert="horz" lIns="91282" tIns="45639" rIns="91282" bIns="45639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704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7345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</p:sldLayoutIdLst>
  <p:transition spd="slow">
    <p:push/>
  </p:transition>
  <p:timing>
    <p:tnLst>
      <p:par>
        <p:cTn id="1" dur="indefinite" restart="never" nodeType="tmRoot"/>
      </p:par>
    </p:tnLst>
  </p:timing>
  <p:txStyles>
    <p:titleStyle>
      <a:lvl1pPr algn="ctr" defTabSz="91270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270" indent="-342270" algn="l" defTabSz="91270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579" indent="-285227" algn="l" defTabSz="912704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89" indent="-228179" algn="l" defTabSz="91270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240" indent="-228179" algn="l" defTabSz="912704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3597" indent="-228179" algn="l" defTabSz="912704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9943" indent="-228179" algn="l" defTabSz="9127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6311" indent="-228179" algn="l" defTabSz="9127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2656" indent="-228179" algn="l" defTabSz="9127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9012" indent="-228179" algn="l" defTabSz="9127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27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7" algn="l" defTabSz="9127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04" algn="l" defTabSz="9127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2" algn="l" defTabSz="9127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18" algn="l" defTabSz="9127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74" algn="l" defTabSz="9127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28" algn="l" defTabSz="9127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80" algn="l" defTabSz="9127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35" algn="l" defTabSz="9127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obile%20Vehicle%20Surveillance%20Solution.mpg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13" Type="http://schemas.openxmlformats.org/officeDocument/2006/relationships/image" Target="../media/image76.png"/><Relationship Id="rId18" Type="http://schemas.openxmlformats.org/officeDocument/2006/relationships/image" Target="../media/image81.png"/><Relationship Id="rId3" Type="http://schemas.openxmlformats.org/officeDocument/2006/relationships/image" Target="../media/image66.png"/><Relationship Id="rId7" Type="http://schemas.openxmlformats.org/officeDocument/2006/relationships/image" Target="../media/image70.png"/><Relationship Id="rId12" Type="http://schemas.openxmlformats.org/officeDocument/2006/relationships/image" Target="../media/image75.png"/><Relationship Id="rId17" Type="http://schemas.openxmlformats.org/officeDocument/2006/relationships/image" Target="../media/image80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7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9.png"/><Relationship Id="rId11" Type="http://schemas.openxmlformats.org/officeDocument/2006/relationships/image" Target="../media/image74.png"/><Relationship Id="rId5" Type="http://schemas.openxmlformats.org/officeDocument/2006/relationships/image" Target="../media/image68.png"/><Relationship Id="rId15" Type="http://schemas.openxmlformats.org/officeDocument/2006/relationships/image" Target="../media/image78.png"/><Relationship Id="rId10" Type="http://schemas.openxmlformats.org/officeDocument/2006/relationships/image" Target="../media/image73.png"/><Relationship Id="rId19" Type="http://schemas.microsoft.com/office/2007/relationships/hdphoto" Target="../media/hdphoto4.wdp"/><Relationship Id="rId4" Type="http://schemas.openxmlformats.org/officeDocument/2006/relationships/image" Target="../media/image67.png"/><Relationship Id="rId9" Type="http://schemas.openxmlformats.org/officeDocument/2006/relationships/image" Target="../media/image72.png"/><Relationship Id="rId14" Type="http://schemas.openxmlformats.org/officeDocument/2006/relationships/image" Target="../media/image7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image" Target="../media/image82.png"/><Relationship Id="rId7" Type="http://schemas.openxmlformats.org/officeDocument/2006/relationships/image" Target="../media/image8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microsoft.com/office/2007/relationships/hdphoto" Target="../media/hdphoto5.wdp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96.jpeg"/><Relationship Id="rId18" Type="http://schemas.openxmlformats.org/officeDocument/2006/relationships/image" Target="../media/image99.jpeg"/><Relationship Id="rId3" Type="http://schemas.openxmlformats.org/officeDocument/2006/relationships/image" Target="../media/image87.jpeg"/><Relationship Id="rId7" Type="http://schemas.openxmlformats.org/officeDocument/2006/relationships/image" Target="../media/image91.png"/><Relationship Id="rId12" Type="http://schemas.openxmlformats.org/officeDocument/2006/relationships/image" Target="../media/image95.png"/><Relationship Id="rId17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98.png"/><Relationship Id="rId20" Type="http://schemas.openxmlformats.org/officeDocument/2006/relationships/image" Target="../media/image10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0.jpeg"/><Relationship Id="rId11" Type="http://schemas.openxmlformats.org/officeDocument/2006/relationships/image" Target="../media/image94.jpeg"/><Relationship Id="rId5" Type="http://schemas.openxmlformats.org/officeDocument/2006/relationships/image" Target="../media/image89.jpeg"/><Relationship Id="rId15" Type="http://schemas.openxmlformats.org/officeDocument/2006/relationships/image" Target="../media/image23.png"/><Relationship Id="rId10" Type="http://schemas.openxmlformats.org/officeDocument/2006/relationships/image" Target="../media/image93.jpeg"/><Relationship Id="rId19" Type="http://schemas.openxmlformats.org/officeDocument/2006/relationships/image" Target="../media/image52.png"/><Relationship Id="rId4" Type="http://schemas.openxmlformats.org/officeDocument/2006/relationships/image" Target="../media/image88.jpeg"/><Relationship Id="rId9" Type="http://schemas.openxmlformats.org/officeDocument/2006/relationships/image" Target="../media/image92.jpeg"/><Relationship Id="rId14" Type="http://schemas.openxmlformats.org/officeDocument/2006/relationships/image" Target="../media/image9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102.jpeg"/><Relationship Id="rId7" Type="http://schemas.openxmlformats.org/officeDocument/2006/relationships/image" Target="../media/image106.png"/><Relationship Id="rId12" Type="http://schemas.openxmlformats.org/officeDocument/2006/relationships/image" Target="../media/image10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5.png"/><Relationship Id="rId11" Type="http://schemas.openxmlformats.org/officeDocument/2006/relationships/image" Target="../media/image98.png"/><Relationship Id="rId5" Type="http://schemas.openxmlformats.org/officeDocument/2006/relationships/image" Target="../media/image104.gif"/><Relationship Id="rId10" Type="http://schemas.openxmlformats.org/officeDocument/2006/relationships/image" Target="../media/image108.png"/><Relationship Id="rId4" Type="http://schemas.openxmlformats.org/officeDocument/2006/relationships/image" Target="../media/image103.png"/><Relationship Id="rId9" Type="http://schemas.openxmlformats.org/officeDocument/2006/relationships/image" Target="../media/image10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7" Type="http://schemas.openxmlformats.org/officeDocument/2006/relationships/image" Target="../media/image1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2.png"/><Relationship Id="rId5" Type="http://schemas.openxmlformats.org/officeDocument/2006/relationships/image" Target="../media/image39.png"/><Relationship Id="rId4" Type="http://schemas.openxmlformats.org/officeDocument/2006/relationships/image" Target="../media/image11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1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21.png"/><Relationship Id="rId5" Type="http://schemas.openxmlformats.org/officeDocument/2006/relationships/image" Target="../media/image120.png"/><Relationship Id="rId4" Type="http://schemas.openxmlformats.org/officeDocument/2006/relationships/image" Target="../media/image11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122.jpeg"/><Relationship Id="rId7" Type="http://schemas.openxmlformats.org/officeDocument/2006/relationships/image" Target="../media/image12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124.png"/><Relationship Id="rId5" Type="http://schemas.openxmlformats.org/officeDocument/2006/relationships/image" Target="../media/image123.png"/><Relationship Id="rId4" Type="http://schemas.openxmlformats.org/officeDocument/2006/relationships/hyperlink" Target="http://dev.voxmobile.com/wp-content/uploads/2011/03/android_logo.png" TargetMode="External"/><Relationship Id="rId9" Type="http://schemas.openxmlformats.org/officeDocument/2006/relationships/image" Target="../media/image12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.xml"/><Relationship Id="rId4" Type="http://schemas.openxmlformats.org/officeDocument/2006/relationships/image" Target="../media/image127.jpeg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3" Type="http://schemas.openxmlformats.org/officeDocument/2006/relationships/image" Target="../media/image128.jpeg"/><Relationship Id="rId7" Type="http://schemas.openxmlformats.org/officeDocument/2006/relationships/image" Target="../media/image13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5.xml"/><Relationship Id="rId6" Type="http://schemas.microsoft.com/office/2007/relationships/hdphoto" Target="../media/hdphoto6.wdp"/><Relationship Id="rId5" Type="http://schemas.openxmlformats.org/officeDocument/2006/relationships/image" Target="../media/image130.png"/><Relationship Id="rId4" Type="http://schemas.openxmlformats.org/officeDocument/2006/relationships/image" Target="../media/image129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45.png"/><Relationship Id="rId5" Type="http://schemas.openxmlformats.org/officeDocument/2006/relationships/image" Target="../media/image134.jpeg"/><Relationship Id="rId4" Type="http://schemas.openxmlformats.org/officeDocument/2006/relationships/image" Target="../media/image133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7.xml"/><Relationship Id="rId5" Type="http://schemas.microsoft.com/office/2007/relationships/hdphoto" Target="../media/hdphoto8.wdp"/><Relationship Id="rId4" Type="http://schemas.openxmlformats.org/officeDocument/2006/relationships/image" Target="../media/image13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13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em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png"/><Relationship Id="rId2" Type="http://schemas.openxmlformats.org/officeDocument/2006/relationships/image" Target="../media/image138.jpeg"/><Relationship Id="rId1" Type="http://schemas.openxmlformats.org/officeDocument/2006/relationships/slideLayout" Target="../slideLayouts/slideLayout3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jpeg"/><Relationship Id="rId1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10" Type="http://schemas.openxmlformats.org/officeDocument/2006/relationships/image" Target="../media/image25.jpeg"/><Relationship Id="rId4" Type="http://schemas.openxmlformats.org/officeDocument/2006/relationships/image" Target="../media/image19.png"/><Relationship Id="rId9" Type="http://schemas.openxmlformats.org/officeDocument/2006/relationships/image" Target="../media/image24.wmf"/><Relationship Id="rId1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41.png"/><Relationship Id="rId3" Type="http://schemas.openxmlformats.org/officeDocument/2006/relationships/image" Target="../media/image34.png"/><Relationship Id="rId7" Type="http://schemas.openxmlformats.org/officeDocument/2006/relationships/image" Target="../media/image37.png"/><Relationship Id="rId12" Type="http://schemas.openxmlformats.org/officeDocument/2006/relationships/image" Target="../media/image4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6.jpeg"/><Relationship Id="rId11" Type="http://schemas.openxmlformats.org/officeDocument/2006/relationships/image" Target="../media/image39.png"/><Relationship Id="rId5" Type="http://schemas.openxmlformats.org/officeDocument/2006/relationships/image" Target="../media/image35.png"/><Relationship Id="rId10" Type="http://schemas.microsoft.com/office/2007/relationships/hdphoto" Target="../media/hdphoto3.wdp"/><Relationship Id="rId4" Type="http://schemas.microsoft.com/office/2007/relationships/hdphoto" Target="../media/hdphoto1.wdp"/><Relationship Id="rId9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jpe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13" Type="http://schemas.openxmlformats.org/officeDocument/2006/relationships/image" Target="../media/image32.png"/><Relationship Id="rId18" Type="http://schemas.openxmlformats.org/officeDocument/2006/relationships/image" Target="../media/image51.jpeg"/><Relationship Id="rId3" Type="http://schemas.openxmlformats.org/officeDocument/2006/relationships/image" Target="../media/image20.png"/><Relationship Id="rId7" Type="http://schemas.openxmlformats.org/officeDocument/2006/relationships/image" Target="../media/image24.wmf"/><Relationship Id="rId12" Type="http://schemas.openxmlformats.org/officeDocument/2006/relationships/image" Target="../media/image30.png"/><Relationship Id="rId17" Type="http://schemas.openxmlformats.org/officeDocument/2006/relationships/image" Target="../media/image50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49.png"/><Relationship Id="rId20" Type="http://schemas.openxmlformats.org/officeDocument/2006/relationships/image" Target="../media/image5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5" Type="http://schemas.openxmlformats.org/officeDocument/2006/relationships/image" Target="../media/image48.png"/><Relationship Id="rId10" Type="http://schemas.openxmlformats.org/officeDocument/2006/relationships/image" Target="../media/image27.png"/><Relationship Id="rId19" Type="http://schemas.openxmlformats.org/officeDocument/2006/relationships/image" Target="../media/image52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Relationship Id="rId1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9.xml"/><Relationship Id="rId4" Type="http://schemas.openxmlformats.org/officeDocument/2006/relationships/image" Target="../media/image5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60.png"/><Relationship Id="rId18" Type="http://schemas.openxmlformats.org/officeDocument/2006/relationships/image" Target="../media/image65.png"/><Relationship Id="rId3" Type="http://schemas.openxmlformats.org/officeDocument/2006/relationships/chart" Target="../charts/chart1.xml"/><Relationship Id="rId7" Type="http://schemas.openxmlformats.org/officeDocument/2006/relationships/image" Target="../media/image22.png"/><Relationship Id="rId12" Type="http://schemas.openxmlformats.org/officeDocument/2006/relationships/image" Target="../media/image28.png"/><Relationship Id="rId17" Type="http://schemas.openxmlformats.org/officeDocument/2006/relationships/image" Target="../media/image64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6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png"/><Relationship Id="rId11" Type="http://schemas.openxmlformats.org/officeDocument/2006/relationships/image" Target="../media/image25.jpeg"/><Relationship Id="rId5" Type="http://schemas.openxmlformats.org/officeDocument/2006/relationships/image" Target="../media/image21.png"/><Relationship Id="rId15" Type="http://schemas.openxmlformats.org/officeDocument/2006/relationships/image" Target="../media/image62.png"/><Relationship Id="rId10" Type="http://schemas.openxmlformats.org/officeDocument/2006/relationships/image" Target="../media/image24.wmf"/><Relationship Id="rId4" Type="http://schemas.openxmlformats.org/officeDocument/2006/relationships/image" Target="../media/image58.png"/><Relationship Id="rId9" Type="http://schemas.openxmlformats.org/officeDocument/2006/relationships/image" Target="../media/image23.png"/><Relationship Id="rId14" Type="http://schemas.openxmlformats.org/officeDocument/2006/relationships/image" Target="../media/image6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151606" y="2057400"/>
            <a:ext cx="12191999" cy="3908556"/>
          </a:xfrm>
          <a:prstGeom prst="rect">
            <a:avLst/>
          </a:prstGeom>
        </p:spPr>
        <p:txBody>
          <a:bodyPr wrap="square" lIns="91242" tIns="45618" rIns="91242" bIns="45618">
            <a:spAutoFit/>
          </a:bodyPr>
          <a:lstStyle/>
          <a:p>
            <a:pPr algn="ctr"/>
            <a:r>
              <a:rPr lang="en-US" altLang="zh-CN" sz="14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微软雅黑" panose="020B0503020204020204" pitchFamily="34" charset="-122"/>
                <a:cs typeface="Mangal" pitchFamily="18" charset="0"/>
              </a:rPr>
              <a:t>M   BILE</a:t>
            </a:r>
            <a:r>
              <a:rPr lang="en-US" altLang="zh-CN" sz="14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</a:p>
          <a:p>
            <a:pPr algn="ctr"/>
            <a:r>
              <a:rPr lang="en-US" altLang="zh-CN" sz="3600" b="1" dirty="0" smtClean="0">
                <a:solidFill>
                  <a:srgbClr val="FFC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IẢI PHÁP GIÁM SÁT CHO </a:t>
            </a:r>
          </a:p>
          <a:p>
            <a:pPr algn="ctr"/>
            <a:r>
              <a:rPr lang="en-US" altLang="zh-CN" sz="3600" b="1" dirty="0" smtClean="0">
                <a:solidFill>
                  <a:srgbClr val="FFC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ƯƠNG TIỆN GIAO THÔNG</a:t>
            </a:r>
          </a:p>
          <a:p>
            <a:pPr algn="ctr"/>
            <a:endParaRPr lang="zh-CN" altLang="en-US" sz="3600" b="1" dirty="0">
              <a:solidFill>
                <a:srgbClr val="FFC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218" name="Picture 2" descr="C:\Users\26457\Desktop\公交图片素材\7578295_220613502000_2.jpg">
            <a:hlinkClick r:id="rId3" action="ppaction://hlinkfile"/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695" t="27984" r="-5774" b="-5566"/>
          <a:stretch/>
        </p:blipFill>
        <p:spPr bwMode="auto">
          <a:xfrm>
            <a:off x="4937772" y="2486181"/>
            <a:ext cx="1109672" cy="1181457"/>
          </a:xfrm>
          <a:prstGeom prst="diamond">
            <a:avLst/>
          </a:prstGeom>
          <a:solidFill>
            <a:schemeClr val="bg1">
              <a:lumMod val="65000"/>
            </a:schemeClr>
          </a:solidFill>
          <a:ln w="139700">
            <a:solidFill>
              <a:schemeClr val="tx1">
                <a:lumMod val="65000"/>
                <a:lumOff val="35000"/>
              </a:schemeClr>
            </a:solidFill>
          </a:ln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823299" y="127620"/>
            <a:ext cx="2350496" cy="764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60718396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1"/>
          <p:cNvSpPr/>
          <p:nvPr/>
        </p:nvSpPr>
        <p:spPr bwMode="auto">
          <a:xfrm>
            <a:off x="12" y="851372"/>
            <a:ext cx="12190413" cy="4931037"/>
          </a:xfrm>
          <a:prstGeom prst="rect">
            <a:avLst/>
          </a:prstGeom>
          <a:solidFill>
            <a:srgbClr val="505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242" tIns="45622" rIns="91242" bIns="45622" numCol="1" rtlCol="0" anchor="ctr" anchorCtr="0" compatLnSpc="1">
            <a:prstTxWarp prst="textNoShape">
              <a:avLst/>
            </a:prstTxWarp>
          </a:bodyPr>
          <a:lstStyle/>
          <a:p>
            <a:pPr algn="ctr" defTabSz="912083">
              <a:defRPr/>
            </a:pPr>
            <a:endParaRPr lang="en-US" sz="2300" kern="0" dirty="0">
              <a:solidFill>
                <a:srgbClr val="FFFFFF">
                  <a:alpha val="99000"/>
                </a:srgb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Rectangle 18"/>
          <p:cNvSpPr/>
          <p:nvPr/>
        </p:nvSpPr>
        <p:spPr bwMode="auto">
          <a:xfrm>
            <a:off x="493285" y="2009469"/>
            <a:ext cx="3286463" cy="3227587"/>
          </a:xfrm>
          <a:prstGeom prst="rect">
            <a:avLst/>
          </a:prstGeom>
          <a:solidFill>
            <a:srgbClr val="007233"/>
          </a:solidFill>
          <a:ln w="12700">
            <a:noFill/>
            <a:prstDash val="sysDash"/>
          </a:ln>
        </p:spPr>
        <p:txBody>
          <a:bodyPr wrap="square" lIns="89438" tIns="44720" rIns="89438" bIns="44720" rtlCol="0" anchor="ctr" anchorCtr="0">
            <a:noAutofit/>
          </a:bodyPr>
          <a:lstStyle/>
          <a:p>
            <a:pPr algn="ctr" defTabSz="1588402" fontAlgn="base">
              <a:defRPr/>
            </a:pPr>
            <a:endParaRPr lang="nl-NL" sz="1600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0">
                    <a:sysClr val="window" lastClr="FFFFFF"/>
                  </a:gs>
                  <a:gs pos="100000">
                    <a:sysClr val="window" lastClr="FFFFFF"/>
                  </a:gs>
                </a:gsLst>
                <a:lin ang="16200000" scaled="0"/>
              </a:gra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Freeform 6"/>
          <p:cNvSpPr>
            <a:spLocks noEditPoints="1"/>
          </p:cNvSpPr>
          <p:nvPr/>
        </p:nvSpPr>
        <p:spPr bwMode="auto">
          <a:xfrm>
            <a:off x="1285335" y="4025939"/>
            <a:ext cx="625548" cy="530023"/>
          </a:xfrm>
          <a:custGeom>
            <a:avLst/>
            <a:gdLst>
              <a:gd name="T0" fmla="*/ 16 w 199"/>
              <a:gd name="T1" fmla="*/ 212 h 262"/>
              <a:gd name="T2" fmla="*/ 171 w 199"/>
              <a:gd name="T3" fmla="*/ 238 h 262"/>
              <a:gd name="T4" fmla="*/ 171 w 199"/>
              <a:gd name="T5" fmla="*/ 200 h 262"/>
              <a:gd name="T6" fmla="*/ 36 w 199"/>
              <a:gd name="T7" fmla="*/ 219 h 262"/>
              <a:gd name="T8" fmla="*/ 45 w 199"/>
              <a:gd name="T9" fmla="*/ 219 h 262"/>
              <a:gd name="T10" fmla="*/ 96 w 199"/>
              <a:gd name="T11" fmla="*/ 223 h 262"/>
              <a:gd name="T12" fmla="*/ 162 w 199"/>
              <a:gd name="T13" fmla="*/ 215 h 262"/>
              <a:gd name="T14" fmla="*/ 171 w 199"/>
              <a:gd name="T15" fmla="*/ 65 h 262"/>
              <a:gd name="T16" fmla="*/ 16 w 199"/>
              <a:gd name="T17" fmla="*/ 91 h 262"/>
              <a:gd name="T18" fmla="*/ 183 w 199"/>
              <a:gd name="T19" fmla="*/ 91 h 262"/>
              <a:gd name="T20" fmla="*/ 41 w 199"/>
              <a:gd name="T21" fmla="*/ 88 h 262"/>
              <a:gd name="T22" fmla="*/ 40 w 199"/>
              <a:gd name="T23" fmla="*/ 80 h 262"/>
              <a:gd name="T24" fmla="*/ 41 w 199"/>
              <a:gd name="T25" fmla="*/ 88 h 262"/>
              <a:gd name="T26" fmla="*/ 92 w 199"/>
              <a:gd name="T27" fmla="*/ 84 h 262"/>
              <a:gd name="T28" fmla="*/ 166 w 199"/>
              <a:gd name="T29" fmla="*/ 84 h 262"/>
              <a:gd name="T30" fmla="*/ 27 w 199"/>
              <a:gd name="T31" fmla="*/ 0 h 262"/>
              <a:gd name="T32" fmla="*/ 18 w 199"/>
              <a:gd name="T33" fmla="*/ 253 h 262"/>
              <a:gd name="T34" fmla="*/ 63 w 199"/>
              <a:gd name="T35" fmla="*/ 255 h 262"/>
              <a:gd name="T36" fmla="*/ 177 w 199"/>
              <a:gd name="T37" fmla="*/ 262 h 262"/>
              <a:gd name="T38" fmla="*/ 199 w 199"/>
              <a:gd name="T39" fmla="*/ 27 h 262"/>
              <a:gd name="T40" fmla="*/ 172 w 199"/>
              <a:gd name="T41" fmla="*/ 249 h 262"/>
              <a:gd name="T42" fmla="*/ 6 w 199"/>
              <a:gd name="T43" fmla="*/ 27 h 262"/>
              <a:gd name="T44" fmla="*/ 193 w 199"/>
              <a:gd name="T45" fmla="*/ 27 h 262"/>
              <a:gd name="T46" fmla="*/ 28 w 199"/>
              <a:gd name="T47" fmla="*/ 20 h 262"/>
              <a:gd name="T48" fmla="*/ 28 w 199"/>
              <a:gd name="T49" fmla="*/ 58 h 262"/>
              <a:gd name="T50" fmla="*/ 183 w 199"/>
              <a:gd name="T51" fmla="*/ 32 h 262"/>
              <a:gd name="T52" fmla="*/ 40 w 199"/>
              <a:gd name="T53" fmla="*/ 43 h 262"/>
              <a:gd name="T54" fmla="*/ 41 w 199"/>
              <a:gd name="T55" fmla="*/ 35 h 262"/>
              <a:gd name="T56" fmla="*/ 162 w 199"/>
              <a:gd name="T57" fmla="*/ 43 h 262"/>
              <a:gd name="T58" fmla="*/ 96 w 199"/>
              <a:gd name="T59" fmla="*/ 35 h 262"/>
              <a:gd name="T60" fmla="*/ 162 w 199"/>
              <a:gd name="T61" fmla="*/ 43 h 262"/>
              <a:gd name="T62" fmla="*/ 16 w 199"/>
              <a:gd name="T63" fmla="*/ 122 h 262"/>
              <a:gd name="T64" fmla="*/ 171 w 199"/>
              <a:gd name="T65" fmla="*/ 148 h 262"/>
              <a:gd name="T66" fmla="*/ 171 w 199"/>
              <a:gd name="T67" fmla="*/ 110 h 262"/>
              <a:gd name="T68" fmla="*/ 36 w 199"/>
              <a:gd name="T69" fmla="*/ 129 h 262"/>
              <a:gd name="T70" fmla="*/ 45 w 199"/>
              <a:gd name="T71" fmla="*/ 129 h 262"/>
              <a:gd name="T72" fmla="*/ 96 w 199"/>
              <a:gd name="T73" fmla="*/ 133 h 262"/>
              <a:gd name="T74" fmla="*/ 162 w 199"/>
              <a:gd name="T75" fmla="*/ 125 h 262"/>
              <a:gd name="T76" fmla="*/ 171 w 199"/>
              <a:gd name="T77" fmla="*/ 155 h 262"/>
              <a:gd name="T78" fmla="*/ 16 w 199"/>
              <a:gd name="T79" fmla="*/ 181 h 262"/>
              <a:gd name="T80" fmla="*/ 183 w 199"/>
              <a:gd name="T81" fmla="*/ 181 h 262"/>
              <a:gd name="T82" fmla="*/ 41 w 199"/>
              <a:gd name="T83" fmla="*/ 178 h 262"/>
              <a:gd name="T84" fmla="*/ 40 w 199"/>
              <a:gd name="T85" fmla="*/ 170 h 262"/>
              <a:gd name="T86" fmla="*/ 41 w 199"/>
              <a:gd name="T87" fmla="*/ 178 h 262"/>
              <a:gd name="T88" fmla="*/ 92 w 199"/>
              <a:gd name="T89" fmla="*/ 174 h 262"/>
              <a:gd name="T90" fmla="*/ 166 w 199"/>
              <a:gd name="T91" fmla="*/ 174 h 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99" h="262">
                <a:moveTo>
                  <a:pt x="171" y="200"/>
                </a:moveTo>
                <a:cubicBezTo>
                  <a:pt x="28" y="200"/>
                  <a:pt x="28" y="200"/>
                  <a:pt x="28" y="200"/>
                </a:cubicBezTo>
                <a:cubicBezTo>
                  <a:pt x="22" y="200"/>
                  <a:pt x="16" y="206"/>
                  <a:pt x="16" y="212"/>
                </a:cubicBezTo>
                <a:cubicBezTo>
                  <a:pt x="16" y="226"/>
                  <a:pt x="16" y="226"/>
                  <a:pt x="16" y="226"/>
                </a:cubicBezTo>
                <a:cubicBezTo>
                  <a:pt x="16" y="233"/>
                  <a:pt x="22" y="238"/>
                  <a:pt x="28" y="238"/>
                </a:cubicBezTo>
                <a:cubicBezTo>
                  <a:pt x="171" y="238"/>
                  <a:pt x="171" y="238"/>
                  <a:pt x="171" y="238"/>
                </a:cubicBezTo>
                <a:cubicBezTo>
                  <a:pt x="178" y="238"/>
                  <a:pt x="183" y="233"/>
                  <a:pt x="183" y="226"/>
                </a:cubicBezTo>
                <a:cubicBezTo>
                  <a:pt x="183" y="212"/>
                  <a:pt x="183" y="212"/>
                  <a:pt x="183" y="212"/>
                </a:cubicBezTo>
                <a:cubicBezTo>
                  <a:pt x="183" y="206"/>
                  <a:pt x="178" y="200"/>
                  <a:pt x="171" y="200"/>
                </a:cubicBezTo>
                <a:close/>
                <a:moveTo>
                  <a:pt x="41" y="223"/>
                </a:moveTo>
                <a:cubicBezTo>
                  <a:pt x="40" y="223"/>
                  <a:pt x="40" y="223"/>
                  <a:pt x="40" y="223"/>
                </a:cubicBezTo>
                <a:cubicBezTo>
                  <a:pt x="38" y="223"/>
                  <a:pt x="36" y="221"/>
                  <a:pt x="36" y="219"/>
                </a:cubicBezTo>
                <a:cubicBezTo>
                  <a:pt x="36" y="217"/>
                  <a:pt x="38" y="215"/>
                  <a:pt x="40" y="215"/>
                </a:cubicBezTo>
                <a:cubicBezTo>
                  <a:pt x="41" y="215"/>
                  <a:pt x="41" y="215"/>
                  <a:pt x="41" y="215"/>
                </a:cubicBezTo>
                <a:cubicBezTo>
                  <a:pt x="43" y="215"/>
                  <a:pt x="45" y="217"/>
                  <a:pt x="45" y="219"/>
                </a:cubicBezTo>
                <a:cubicBezTo>
                  <a:pt x="45" y="221"/>
                  <a:pt x="43" y="223"/>
                  <a:pt x="41" y="223"/>
                </a:cubicBezTo>
                <a:close/>
                <a:moveTo>
                  <a:pt x="162" y="223"/>
                </a:moveTo>
                <a:cubicBezTo>
                  <a:pt x="96" y="223"/>
                  <a:pt x="96" y="223"/>
                  <a:pt x="96" y="223"/>
                </a:cubicBezTo>
                <a:cubicBezTo>
                  <a:pt x="94" y="223"/>
                  <a:pt x="92" y="221"/>
                  <a:pt x="92" y="219"/>
                </a:cubicBezTo>
                <a:cubicBezTo>
                  <a:pt x="92" y="217"/>
                  <a:pt x="94" y="215"/>
                  <a:pt x="96" y="215"/>
                </a:cubicBezTo>
                <a:cubicBezTo>
                  <a:pt x="162" y="215"/>
                  <a:pt x="162" y="215"/>
                  <a:pt x="162" y="215"/>
                </a:cubicBezTo>
                <a:cubicBezTo>
                  <a:pt x="165" y="215"/>
                  <a:pt x="166" y="217"/>
                  <a:pt x="166" y="219"/>
                </a:cubicBezTo>
                <a:cubicBezTo>
                  <a:pt x="166" y="221"/>
                  <a:pt x="165" y="223"/>
                  <a:pt x="162" y="223"/>
                </a:cubicBezTo>
                <a:close/>
                <a:moveTo>
                  <a:pt x="171" y="65"/>
                </a:moveTo>
                <a:cubicBezTo>
                  <a:pt x="28" y="65"/>
                  <a:pt x="28" y="65"/>
                  <a:pt x="28" y="65"/>
                </a:cubicBezTo>
                <a:cubicBezTo>
                  <a:pt x="22" y="65"/>
                  <a:pt x="16" y="71"/>
                  <a:pt x="16" y="77"/>
                </a:cubicBezTo>
                <a:cubicBezTo>
                  <a:pt x="16" y="91"/>
                  <a:pt x="16" y="91"/>
                  <a:pt x="16" y="91"/>
                </a:cubicBezTo>
                <a:cubicBezTo>
                  <a:pt x="16" y="98"/>
                  <a:pt x="22" y="103"/>
                  <a:pt x="28" y="103"/>
                </a:cubicBezTo>
                <a:cubicBezTo>
                  <a:pt x="171" y="103"/>
                  <a:pt x="171" y="103"/>
                  <a:pt x="171" y="103"/>
                </a:cubicBezTo>
                <a:cubicBezTo>
                  <a:pt x="178" y="103"/>
                  <a:pt x="183" y="98"/>
                  <a:pt x="183" y="91"/>
                </a:cubicBezTo>
                <a:cubicBezTo>
                  <a:pt x="183" y="77"/>
                  <a:pt x="183" y="77"/>
                  <a:pt x="183" y="77"/>
                </a:cubicBezTo>
                <a:cubicBezTo>
                  <a:pt x="183" y="71"/>
                  <a:pt x="178" y="65"/>
                  <a:pt x="171" y="65"/>
                </a:cubicBezTo>
                <a:close/>
                <a:moveTo>
                  <a:pt x="41" y="88"/>
                </a:moveTo>
                <a:cubicBezTo>
                  <a:pt x="40" y="88"/>
                  <a:pt x="40" y="88"/>
                  <a:pt x="40" y="88"/>
                </a:cubicBezTo>
                <a:cubicBezTo>
                  <a:pt x="38" y="88"/>
                  <a:pt x="36" y="86"/>
                  <a:pt x="36" y="84"/>
                </a:cubicBezTo>
                <a:cubicBezTo>
                  <a:pt x="36" y="82"/>
                  <a:pt x="38" y="80"/>
                  <a:pt x="40" y="80"/>
                </a:cubicBezTo>
                <a:cubicBezTo>
                  <a:pt x="41" y="80"/>
                  <a:pt x="41" y="80"/>
                  <a:pt x="41" y="80"/>
                </a:cubicBezTo>
                <a:cubicBezTo>
                  <a:pt x="43" y="80"/>
                  <a:pt x="45" y="82"/>
                  <a:pt x="45" y="84"/>
                </a:cubicBezTo>
                <a:cubicBezTo>
                  <a:pt x="45" y="86"/>
                  <a:pt x="43" y="88"/>
                  <a:pt x="41" y="88"/>
                </a:cubicBezTo>
                <a:close/>
                <a:moveTo>
                  <a:pt x="162" y="88"/>
                </a:moveTo>
                <a:cubicBezTo>
                  <a:pt x="96" y="88"/>
                  <a:pt x="96" y="88"/>
                  <a:pt x="96" y="88"/>
                </a:cubicBezTo>
                <a:cubicBezTo>
                  <a:pt x="94" y="88"/>
                  <a:pt x="92" y="86"/>
                  <a:pt x="92" y="84"/>
                </a:cubicBezTo>
                <a:cubicBezTo>
                  <a:pt x="92" y="82"/>
                  <a:pt x="94" y="80"/>
                  <a:pt x="96" y="80"/>
                </a:cubicBezTo>
                <a:cubicBezTo>
                  <a:pt x="162" y="80"/>
                  <a:pt x="162" y="80"/>
                  <a:pt x="162" y="80"/>
                </a:cubicBezTo>
                <a:cubicBezTo>
                  <a:pt x="165" y="80"/>
                  <a:pt x="166" y="82"/>
                  <a:pt x="166" y="84"/>
                </a:cubicBezTo>
                <a:cubicBezTo>
                  <a:pt x="166" y="86"/>
                  <a:pt x="165" y="88"/>
                  <a:pt x="162" y="88"/>
                </a:cubicBezTo>
                <a:close/>
                <a:moveTo>
                  <a:pt x="172" y="0"/>
                </a:moveTo>
                <a:cubicBezTo>
                  <a:pt x="27" y="0"/>
                  <a:pt x="27" y="0"/>
                  <a:pt x="27" y="0"/>
                </a:cubicBezTo>
                <a:cubicBezTo>
                  <a:pt x="12" y="0"/>
                  <a:pt x="0" y="12"/>
                  <a:pt x="0" y="27"/>
                </a:cubicBezTo>
                <a:cubicBezTo>
                  <a:pt x="0" y="228"/>
                  <a:pt x="0" y="228"/>
                  <a:pt x="0" y="228"/>
                </a:cubicBezTo>
                <a:cubicBezTo>
                  <a:pt x="0" y="240"/>
                  <a:pt x="7" y="249"/>
                  <a:pt x="18" y="253"/>
                </a:cubicBezTo>
                <a:cubicBezTo>
                  <a:pt x="22" y="262"/>
                  <a:pt x="22" y="262"/>
                  <a:pt x="22" y="262"/>
                </a:cubicBezTo>
                <a:cubicBezTo>
                  <a:pt x="59" y="262"/>
                  <a:pt x="59" y="262"/>
                  <a:pt x="59" y="262"/>
                </a:cubicBezTo>
                <a:cubicBezTo>
                  <a:pt x="63" y="255"/>
                  <a:pt x="63" y="255"/>
                  <a:pt x="63" y="255"/>
                </a:cubicBezTo>
                <a:cubicBezTo>
                  <a:pt x="137" y="255"/>
                  <a:pt x="137" y="255"/>
                  <a:pt x="137" y="255"/>
                </a:cubicBezTo>
                <a:cubicBezTo>
                  <a:pt x="140" y="262"/>
                  <a:pt x="140" y="262"/>
                  <a:pt x="140" y="262"/>
                </a:cubicBezTo>
                <a:cubicBezTo>
                  <a:pt x="177" y="262"/>
                  <a:pt x="177" y="262"/>
                  <a:pt x="177" y="262"/>
                </a:cubicBezTo>
                <a:cubicBezTo>
                  <a:pt x="182" y="253"/>
                  <a:pt x="182" y="253"/>
                  <a:pt x="182" y="253"/>
                </a:cubicBezTo>
                <a:cubicBezTo>
                  <a:pt x="192" y="249"/>
                  <a:pt x="199" y="240"/>
                  <a:pt x="199" y="228"/>
                </a:cubicBezTo>
                <a:cubicBezTo>
                  <a:pt x="199" y="27"/>
                  <a:pt x="199" y="27"/>
                  <a:pt x="199" y="27"/>
                </a:cubicBezTo>
                <a:cubicBezTo>
                  <a:pt x="199" y="12"/>
                  <a:pt x="187" y="0"/>
                  <a:pt x="172" y="0"/>
                </a:cubicBezTo>
                <a:close/>
                <a:moveTo>
                  <a:pt x="193" y="228"/>
                </a:moveTo>
                <a:cubicBezTo>
                  <a:pt x="193" y="240"/>
                  <a:pt x="184" y="249"/>
                  <a:pt x="172" y="249"/>
                </a:cubicBezTo>
                <a:cubicBezTo>
                  <a:pt x="27" y="249"/>
                  <a:pt x="27" y="249"/>
                  <a:pt x="27" y="249"/>
                </a:cubicBezTo>
                <a:cubicBezTo>
                  <a:pt x="16" y="249"/>
                  <a:pt x="6" y="240"/>
                  <a:pt x="6" y="228"/>
                </a:cubicBezTo>
                <a:cubicBezTo>
                  <a:pt x="6" y="27"/>
                  <a:pt x="6" y="27"/>
                  <a:pt x="6" y="27"/>
                </a:cubicBezTo>
                <a:cubicBezTo>
                  <a:pt x="6" y="15"/>
                  <a:pt x="16" y="6"/>
                  <a:pt x="27" y="6"/>
                </a:cubicBezTo>
                <a:cubicBezTo>
                  <a:pt x="172" y="6"/>
                  <a:pt x="172" y="6"/>
                  <a:pt x="172" y="6"/>
                </a:cubicBezTo>
                <a:cubicBezTo>
                  <a:pt x="184" y="6"/>
                  <a:pt x="193" y="15"/>
                  <a:pt x="193" y="27"/>
                </a:cubicBezTo>
                <a:lnTo>
                  <a:pt x="193" y="228"/>
                </a:lnTo>
                <a:close/>
                <a:moveTo>
                  <a:pt x="171" y="20"/>
                </a:moveTo>
                <a:cubicBezTo>
                  <a:pt x="28" y="20"/>
                  <a:pt x="28" y="20"/>
                  <a:pt x="28" y="20"/>
                </a:cubicBezTo>
                <a:cubicBezTo>
                  <a:pt x="22" y="20"/>
                  <a:pt x="16" y="26"/>
                  <a:pt x="16" y="32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53"/>
                  <a:pt x="22" y="58"/>
                  <a:pt x="28" y="58"/>
                </a:cubicBezTo>
                <a:cubicBezTo>
                  <a:pt x="171" y="58"/>
                  <a:pt x="171" y="58"/>
                  <a:pt x="171" y="58"/>
                </a:cubicBezTo>
                <a:cubicBezTo>
                  <a:pt x="178" y="58"/>
                  <a:pt x="183" y="53"/>
                  <a:pt x="183" y="46"/>
                </a:cubicBezTo>
                <a:cubicBezTo>
                  <a:pt x="183" y="32"/>
                  <a:pt x="183" y="32"/>
                  <a:pt x="183" y="32"/>
                </a:cubicBezTo>
                <a:cubicBezTo>
                  <a:pt x="183" y="26"/>
                  <a:pt x="178" y="20"/>
                  <a:pt x="171" y="20"/>
                </a:cubicBezTo>
                <a:close/>
                <a:moveTo>
                  <a:pt x="41" y="43"/>
                </a:moveTo>
                <a:cubicBezTo>
                  <a:pt x="40" y="43"/>
                  <a:pt x="40" y="43"/>
                  <a:pt x="40" y="43"/>
                </a:cubicBezTo>
                <a:cubicBezTo>
                  <a:pt x="38" y="43"/>
                  <a:pt x="36" y="41"/>
                  <a:pt x="36" y="39"/>
                </a:cubicBezTo>
                <a:cubicBezTo>
                  <a:pt x="36" y="37"/>
                  <a:pt x="38" y="35"/>
                  <a:pt x="40" y="35"/>
                </a:cubicBezTo>
                <a:cubicBezTo>
                  <a:pt x="41" y="35"/>
                  <a:pt x="41" y="35"/>
                  <a:pt x="41" y="35"/>
                </a:cubicBezTo>
                <a:cubicBezTo>
                  <a:pt x="43" y="35"/>
                  <a:pt x="45" y="37"/>
                  <a:pt x="45" y="39"/>
                </a:cubicBezTo>
                <a:cubicBezTo>
                  <a:pt x="45" y="41"/>
                  <a:pt x="43" y="43"/>
                  <a:pt x="41" y="43"/>
                </a:cubicBezTo>
                <a:close/>
                <a:moveTo>
                  <a:pt x="162" y="43"/>
                </a:moveTo>
                <a:cubicBezTo>
                  <a:pt x="96" y="43"/>
                  <a:pt x="96" y="43"/>
                  <a:pt x="96" y="43"/>
                </a:cubicBezTo>
                <a:cubicBezTo>
                  <a:pt x="94" y="43"/>
                  <a:pt x="92" y="41"/>
                  <a:pt x="92" y="39"/>
                </a:cubicBezTo>
                <a:cubicBezTo>
                  <a:pt x="92" y="37"/>
                  <a:pt x="94" y="35"/>
                  <a:pt x="96" y="35"/>
                </a:cubicBezTo>
                <a:cubicBezTo>
                  <a:pt x="162" y="35"/>
                  <a:pt x="162" y="35"/>
                  <a:pt x="162" y="35"/>
                </a:cubicBezTo>
                <a:cubicBezTo>
                  <a:pt x="165" y="35"/>
                  <a:pt x="166" y="37"/>
                  <a:pt x="166" y="39"/>
                </a:cubicBezTo>
                <a:cubicBezTo>
                  <a:pt x="166" y="41"/>
                  <a:pt x="165" y="43"/>
                  <a:pt x="162" y="43"/>
                </a:cubicBezTo>
                <a:close/>
                <a:moveTo>
                  <a:pt x="171" y="110"/>
                </a:moveTo>
                <a:cubicBezTo>
                  <a:pt x="28" y="110"/>
                  <a:pt x="28" y="110"/>
                  <a:pt x="28" y="110"/>
                </a:cubicBezTo>
                <a:cubicBezTo>
                  <a:pt x="22" y="110"/>
                  <a:pt x="16" y="116"/>
                  <a:pt x="16" y="122"/>
                </a:cubicBezTo>
                <a:cubicBezTo>
                  <a:pt x="16" y="136"/>
                  <a:pt x="16" y="136"/>
                  <a:pt x="16" y="136"/>
                </a:cubicBezTo>
                <a:cubicBezTo>
                  <a:pt x="16" y="143"/>
                  <a:pt x="22" y="148"/>
                  <a:pt x="28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8" y="148"/>
                  <a:pt x="183" y="143"/>
                  <a:pt x="183" y="136"/>
                </a:cubicBezTo>
                <a:cubicBezTo>
                  <a:pt x="183" y="122"/>
                  <a:pt x="183" y="122"/>
                  <a:pt x="183" y="122"/>
                </a:cubicBezTo>
                <a:cubicBezTo>
                  <a:pt x="183" y="116"/>
                  <a:pt x="178" y="110"/>
                  <a:pt x="171" y="110"/>
                </a:cubicBezTo>
                <a:close/>
                <a:moveTo>
                  <a:pt x="41" y="133"/>
                </a:moveTo>
                <a:cubicBezTo>
                  <a:pt x="40" y="133"/>
                  <a:pt x="40" y="133"/>
                  <a:pt x="40" y="133"/>
                </a:cubicBezTo>
                <a:cubicBezTo>
                  <a:pt x="38" y="133"/>
                  <a:pt x="36" y="131"/>
                  <a:pt x="36" y="129"/>
                </a:cubicBezTo>
                <a:cubicBezTo>
                  <a:pt x="36" y="127"/>
                  <a:pt x="38" y="125"/>
                  <a:pt x="40" y="125"/>
                </a:cubicBezTo>
                <a:cubicBezTo>
                  <a:pt x="41" y="125"/>
                  <a:pt x="41" y="125"/>
                  <a:pt x="41" y="125"/>
                </a:cubicBezTo>
                <a:cubicBezTo>
                  <a:pt x="43" y="125"/>
                  <a:pt x="45" y="127"/>
                  <a:pt x="45" y="129"/>
                </a:cubicBezTo>
                <a:cubicBezTo>
                  <a:pt x="45" y="131"/>
                  <a:pt x="43" y="133"/>
                  <a:pt x="41" y="133"/>
                </a:cubicBezTo>
                <a:close/>
                <a:moveTo>
                  <a:pt x="162" y="133"/>
                </a:moveTo>
                <a:cubicBezTo>
                  <a:pt x="96" y="133"/>
                  <a:pt x="96" y="133"/>
                  <a:pt x="96" y="133"/>
                </a:cubicBezTo>
                <a:cubicBezTo>
                  <a:pt x="94" y="133"/>
                  <a:pt x="92" y="131"/>
                  <a:pt x="92" y="129"/>
                </a:cubicBezTo>
                <a:cubicBezTo>
                  <a:pt x="92" y="127"/>
                  <a:pt x="94" y="125"/>
                  <a:pt x="96" y="125"/>
                </a:cubicBezTo>
                <a:cubicBezTo>
                  <a:pt x="162" y="125"/>
                  <a:pt x="162" y="125"/>
                  <a:pt x="162" y="125"/>
                </a:cubicBezTo>
                <a:cubicBezTo>
                  <a:pt x="165" y="125"/>
                  <a:pt x="166" y="127"/>
                  <a:pt x="166" y="129"/>
                </a:cubicBezTo>
                <a:cubicBezTo>
                  <a:pt x="166" y="131"/>
                  <a:pt x="165" y="133"/>
                  <a:pt x="162" y="133"/>
                </a:cubicBezTo>
                <a:close/>
                <a:moveTo>
                  <a:pt x="171" y="155"/>
                </a:moveTo>
                <a:cubicBezTo>
                  <a:pt x="28" y="155"/>
                  <a:pt x="28" y="155"/>
                  <a:pt x="28" y="155"/>
                </a:cubicBezTo>
                <a:cubicBezTo>
                  <a:pt x="22" y="155"/>
                  <a:pt x="16" y="161"/>
                  <a:pt x="16" y="167"/>
                </a:cubicBezTo>
                <a:cubicBezTo>
                  <a:pt x="16" y="181"/>
                  <a:pt x="16" y="181"/>
                  <a:pt x="16" y="181"/>
                </a:cubicBezTo>
                <a:cubicBezTo>
                  <a:pt x="16" y="188"/>
                  <a:pt x="22" y="193"/>
                  <a:pt x="28" y="193"/>
                </a:cubicBezTo>
                <a:cubicBezTo>
                  <a:pt x="171" y="193"/>
                  <a:pt x="171" y="193"/>
                  <a:pt x="171" y="193"/>
                </a:cubicBezTo>
                <a:cubicBezTo>
                  <a:pt x="178" y="193"/>
                  <a:pt x="183" y="188"/>
                  <a:pt x="183" y="181"/>
                </a:cubicBezTo>
                <a:cubicBezTo>
                  <a:pt x="183" y="167"/>
                  <a:pt x="183" y="167"/>
                  <a:pt x="183" y="167"/>
                </a:cubicBezTo>
                <a:cubicBezTo>
                  <a:pt x="183" y="161"/>
                  <a:pt x="178" y="155"/>
                  <a:pt x="171" y="155"/>
                </a:cubicBezTo>
                <a:close/>
                <a:moveTo>
                  <a:pt x="41" y="178"/>
                </a:moveTo>
                <a:cubicBezTo>
                  <a:pt x="40" y="178"/>
                  <a:pt x="40" y="178"/>
                  <a:pt x="40" y="178"/>
                </a:cubicBezTo>
                <a:cubicBezTo>
                  <a:pt x="38" y="178"/>
                  <a:pt x="36" y="176"/>
                  <a:pt x="36" y="174"/>
                </a:cubicBezTo>
                <a:cubicBezTo>
                  <a:pt x="36" y="172"/>
                  <a:pt x="38" y="170"/>
                  <a:pt x="40" y="170"/>
                </a:cubicBezTo>
                <a:cubicBezTo>
                  <a:pt x="41" y="170"/>
                  <a:pt x="41" y="170"/>
                  <a:pt x="41" y="170"/>
                </a:cubicBezTo>
                <a:cubicBezTo>
                  <a:pt x="43" y="170"/>
                  <a:pt x="45" y="172"/>
                  <a:pt x="45" y="174"/>
                </a:cubicBezTo>
                <a:cubicBezTo>
                  <a:pt x="45" y="176"/>
                  <a:pt x="43" y="178"/>
                  <a:pt x="41" y="178"/>
                </a:cubicBezTo>
                <a:close/>
                <a:moveTo>
                  <a:pt x="162" y="178"/>
                </a:moveTo>
                <a:cubicBezTo>
                  <a:pt x="96" y="178"/>
                  <a:pt x="96" y="178"/>
                  <a:pt x="96" y="178"/>
                </a:cubicBezTo>
                <a:cubicBezTo>
                  <a:pt x="94" y="178"/>
                  <a:pt x="92" y="176"/>
                  <a:pt x="92" y="174"/>
                </a:cubicBezTo>
                <a:cubicBezTo>
                  <a:pt x="92" y="172"/>
                  <a:pt x="94" y="170"/>
                  <a:pt x="96" y="170"/>
                </a:cubicBezTo>
                <a:cubicBezTo>
                  <a:pt x="162" y="170"/>
                  <a:pt x="162" y="170"/>
                  <a:pt x="162" y="170"/>
                </a:cubicBezTo>
                <a:cubicBezTo>
                  <a:pt x="165" y="170"/>
                  <a:pt x="166" y="172"/>
                  <a:pt x="166" y="174"/>
                </a:cubicBezTo>
                <a:cubicBezTo>
                  <a:pt x="166" y="176"/>
                  <a:pt x="165" y="178"/>
                  <a:pt x="162" y="17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278" tIns="45638" rIns="91278" bIns="45638" numCol="1" anchor="t" anchorCtr="0" compatLnSpc="1">
            <a:prstTxWarp prst="textNoShape">
              <a:avLst/>
            </a:prstTxWarp>
          </a:bodyPr>
          <a:lstStyle/>
          <a:p>
            <a:pPr defTabSz="894920">
              <a:defRPr/>
            </a:pPr>
            <a:endParaRPr lang="en-US" kern="0" dirty="0">
              <a:solidFill>
                <a:sysClr val="windowText" lastClr="00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6" name="Group 4"/>
          <p:cNvGrpSpPr/>
          <p:nvPr/>
        </p:nvGrpSpPr>
        <p:grpSpPr bwMode="black">
          <a:xfrm>
            <a:off x="1061257" y="3278817"/>
            <a:ext cx="971000" cy="672415"/>
            <a:chOff x="7010405" y="2133600"/>
            <a:chExt cx="1379538" cy="1065212"/>
          </a:xfrm>
        </p:grpSpPr>
        <p:sp>
          <p:nvSpPr>
            <p:cNvPr id="7" name="Freeform 161"/>
            <p:cNvSpPr>
              <a:spLocks/>
            </p:cNvSpPr>
            <p:nvPr/>
          </p:nvSpPr>
          <p:spPr bwMode="black">
            <a:xfrm>
              <a:off x="7189791" y="2416175"/>
              <a:ext cx="57151" cy="49212"/>
            </a:xfrm>
            <a:custGeom>
              <a:avLst/>
              <a:gdLst>
                <a:gd name="T0" fmla="*/ 36 w 36"/>
                <a:gd name="T1" fmla="*/ 15 h 31"/>
                <a:gd name="T2" fmla="*/ 28 w 36"/>
                <a:gd name="T3" fmla="*/ 0 h 31"/>
                <a:gd name="T4" fmla="*/ 0 w 36"/>
                <a:gd name="T5" fmla="*/ 16 h 31"/>
                <a:gd name="T6" fmla="*/ 8 w 36"/>
                <a:gd name="T7" fmla="*/ 31 h 31"/>
                <a:gd name="T8" fmla="*/ 36 w 36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1">
                  <a:moveTo>
                    <a:pt x="36" y="15"/>
                  </a:moveTo>
                  <a:lnTo>
                    <a:pt x="28" y="0"/>
                  </a:lnTo>
                  <a:lnTo>
                    <a:pt x="0" y="16"/>
                  </a:lnTo>
                  <a:lnTo>
                    <a:pt x="8" y="31"/>
                  </a:lnTo>
                  <a:lnTo>
                    <a:pt x="36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" name="Freeform 162"/>
            <p:cNvSpPr>
              <a:spLocks/>
            </p:cNvSpPr>
            <p:nvPr/>
          </p:nvSpPr>
          <p:spPr bwMode="black">
            <a:xfrm>
              <a:off x="7539040" y="2225675"/>
              <a:ext cx="57151" cy="47624"/>
            </a:xfrm>
            <a:custGeom>
              <a:avLst/>
              <a:gdLst>
                <a:gd name="T0" fmla="*/ 36 w 36"/>
                <a:gd name="T1" fmla="*/ 14 h 30"/>
                <a:gd name="T2" fmla="*/ 28 w 36"/>
                <a:gd name="T3" fmla="*/ 0 h 30"/>
                <a:gd name="T4" fmla="*/ 0 w 36"/>
                <a:gd name="T5" fmla="*/ 15 h 30"/>
                <a:gd name="T6" fmla="*/ 8 w 36"/>
                <a:gd name="T7" fmla="*/ 30 h 30"/>
                <a:gd name="T8" fmla="*/ 36 w 36"/>
                <a:gd name="T9" fmla="*/ 1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0">
                  <a:moveTo>
                    <a:pt x="36" y="14"/>
                  </a:moveTo>
                  <a:lnTo>
                    <a:pt x="28" y="0"/>
                  </a:lnTo>
                  <a:lnTo>
                    <a:pt x="0" y="15"/>
                  </a:lnTo>
                  <a:lnTo>
                    <a:pt x="8" y="30"/>
                  </a:lnTo>
                  <a:lnTo>
                    <a:pt x="36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9" name="Freeform 163"/>
            <p:cNvSpPr>
              <a:spLocks/>
            </p:cNvSpPr>
            <p:nvPr/>
          </p:nvSpPr>
          <p:spPr bwMode="black">
            <a:xfrm>
              <a:off x="7329490" y="2339975"/>
              <a:ext cx="57151" cy="47624"/>
            </a:xfrm>
            <a:custGeom>
              <a:avLst/>
              <a:gdLst>
                <a:gd name="T0" fmla="*/ 36 w 36"/>
                <a:gd name="T1" fmla="*/ 15 h 30"/>
                <a:gd name="T2" fmla="*/ 28 w 36"/>
                <a:gd name="T3" fmla="*/ 0 h 30"/>
                <a:gd name="T4" fmla="*/ 0 w 36"/>
                <a:gd name="T5" fmla="*/ 16 h 30"/>
                <a:gd name="T6" fmla="*/ 8 w 36"/>
                <a:gd name="T7" fmla="*/ 30 h 30"/>
                <a:gd name="T8" fmla="*/ 36 w 36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0">
                  <a:moveTo>
                    <a:pt x="36" y="15"/>
                  </a:moveTo>
                  <a:lnTo>
                    <a:pt x="28" y="0"/>
                  </a:lnTo>
                  <a:lnTo>
                    <a:pt x="0" y="16"/>
                  </a:lnTo>
                  <a:lnTo>
                    <a:pt x="8" y="30"/>
                  </a:lnTo>
                  <a:lnTo>
                    <a:pt x="36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0" name="Freeform 164"/>
            <p:cNvSpPr>
              <a:spLocks/>
            </p:cNvSpPr>
            <p:nvPr/>
          </p:nvSpPr>
          <p:spPr bwMode="black">
            <a:xfrm>
              <a:off x="7399341" y="2301875"/>
              <a:ext cx="57151" cy="47624"/>
            </a:xfrm>
            <a:custGeom>
              <a:avLst/>
              <a:gdLst>
                <a:gd name="T0" fmla="*/ 36 w 36"/>
                <a:gd name="T1" fmla="*/ 15 h 30"/>
                <a:gd name="T2" fmla="*/ 28 w 36"/>
                <a:gd name="T3" fmla="*/ 0 h 30"/>
                <a:gd name="T4" fmla="*/ 0 w 36"/>
                <a:gd name="T5" fmla="*/ 15 h 30"/>
                <a:gd name="T6" fmla="*/ 8 w 36"/>
                <a:gd name="T7" fmla="*/ 30 h 30"/>
                <a:gd name="T8" fmla="*/ 36 w 36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0">
                  <a:moveTo>
                    <a:pt x="36" y="15"/>
                  </a:moveTo>
                  <a:lnTo>
                    <a:pt x="28" y="0"/>
                  </a:lnTo>
                  <a:lnTo>
                    <a:pt x="0" y="15"/>
                  </a:lnTo>
                  <a:lnTo>
                    <a:pt x="8" y="30"/>
                  </a:lnTo>
                  <a:lnTo>
                    <a:pt x="36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1" name="Freeform 165"/>
            <p:cNvSpPr>
              <a:spLocks/>
            </p:cNvSpPr>
            <p:nvPr/>
          </p:nvSpPr>
          <p:spPr bwMode="black">
            <a:xfrm>
              <a:off x="7469191" y="2263775"/>
              <a:ext cx="58738" cy="47624"/>
            </a:xfrm>
            <a:custGeom>
              <a:avLst/>
              <a:gdLst>
                <a:gd name="T0" fmla="*/ 37 w 37"/>
                <a:gd name="T1" fmla="*/ 14 h 30"/>
                <a:gd name="T2" fmla="*/ 29 w 37"/>
                <a:gd name="T3" fmla="*/ 0 h 30"/>
                <a:gd name="T4" fmla="*/ 0 w 37"/>
                <a:gd name="T5" fmla="*/ 15 h 30"/>
                <a:gd name="T6" fmla="*/ 8 w 37"/>
                <a:gd name="T7" fmla="*/ 30 h 30"/>
                <a:gd name="T8" fmla="*/ 37 w 37"/>
                <a:gd name="T9" fmla="*/ 1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0">
                  <a:moveTo>
                    <a:pt x="37" y="14"/>
                  </a:moveTo>
                  <a:lnTo>
                    <a:pt x="29" y="0"/>
                  </a:lnTo>
                  <a:lnTo>
                    <a:pt x="0" y="15"/>
                  </a:lnTo>
                  <a:lnTo>
                    <a:pt x="8" y="30"/>
                  </a:lnTo>
                  <a:lnTo>
                    <a:pt x="37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2" name="Freeform 166"/>
            <p:cNvSpPr>
              <a:spLocks/>
            </p:cNvSpPr>
            <p:nvPr/>
          </p:nvSpPr>
          <p:spPr bwMode="black">
            <a:xfrm>
              <a:off x="7011990" y="2725738"/>
              <a:ext cx="31751" cy="52388"/>
            </a:xfrm>
            <a:custGeom>
              <a:avLst/>
              <a:gdLst>
                <a:gd name="T0" fmla="*/ 40 w 41"/>
                <a:gd name="T1" fmla="*/ 60 h 71"/>
                <a:gd name="T2" fmla="*/ 36 w 41"/>
                <a:gd name="T3" fmla="*/ 7 h 71"/>
                <a:gd name="T4" fmla="*/ 35 w 41"/>
                <a:gd name="T5" fmla="*/ 0 h 71"/>
                <a:gd name="T6" fmla="*/ 0 w 41"/>
                <a:gd name="T7" fmla="*/ 2 h 71"/>
                <a:gd name="T8" fmla="*/ 0 w 41"/>
                <a:gd name="T9" fmla="*/ 10 h 71"/>
                <a:gd name="T10" fmla="*/ 5 w 41"/>
                <a:gd name="T11" fmla="*/ 64 h 71"/>
                <a:gd name="T12" fmla="*/ 6 w 41"/>
                <a:gd name="T13" fmla="*/ 71 h 71"/>
                <a:gd name="T14" fmla="*/ 41 w 41"/>
                <a:gd name="T15" fmla="*/ 67 h 71"/>
                <a:gd name="T16" fmla="*/ 40 w 41"/>
                <a:gd name="T17" fmla="*/ 6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71">
                  <a:moveTo>
                    <a:pt x="40" y="60"/>
                  </a:moveTo>
                  <a:cubicBezTo>
                    <a:pt x="38" y="45"/>
                    <a:pt x="37" y="27"/>
                    <a:pt x="36" y="7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2" y="29"/>
                    <a:pt x="3" y="48"/>
                    <a:pt x="5" y="64"/>
                  </a:cubicBezTo>
                  <a:cubicBezTo>
                    <a:pt x="6" y="71"/>
                    <a:pt x="6" y="71"/>
                    <a:pt x="6" y="71"/>
                  </a:cubicBezTo>
                  <a:cubicBezTo>
                    <a:pt x="41" y="67"/>
                    <a:pt x="41" y="67"/>
                    <a:pt x="41" y="67"/>
                  </a:cubicBezTo>
                  <a:lnTo>
                    <a:pt x="40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3" name="Freeform 167"/>
            <p:cNvSpPr>
              <a:spLocks/>
            </p:cNvSpPr>
            <p:nvPr/>
          </p:nvSpPr>
          <p:spPr bwMode="black">
            <a:xfrm>
              <a:off x="7116765" y="2451099"/>
              <a:ext cx="57151" cy="31751"/>
            </a:xfrm>
            <a:custGeom>
              <a:avLst/>
              <a:gdLst>
                <a:gd name="T0" fmla="*/ 51 w 77"/>
                <a:gd name="T1" fmla="*/ 44 h 44"/>
                <a:gd name="T2" fmla="*/ 70 w 77"/>
                <a:gd name="T3" fmla="*/ 41 h 44"/>
                <a:gd name="T4" fmla="*/ 77 w 77"/>
                <a:gd name="T5" fmla="*/ 39 h 44"/>
                <a:gd name="T6" fmla="*/ 67 w 77"/>
                <a:gd name="T7" fmla="*/ 5 h 44"/>
                <a:gd name="T8" fmla="*/ 60 w 77"/>
                <a:gd name="T9" fmla="*/ 8 h 44"/>
                <a:gd name="T10" fmla="*/ 18 w 77"/>
                <a:gd name="T11" fmla="*/ 2 h 44"/>
                <a:gd name="T12" fmla="*/ 11 w 77"/>
                <a:gd name="T13" fmla="*/ 0 h 44"/>
                <a:gd name="T14" fmla="*/ 0 w 77"/>
                <a:gd name="T15" fmla="*/ 33 h 44"/>
                <a:gd name="T16" fmla="*/ 7 w 77"/>
                <a:gd name="T17" fmla="*/ 36 h 44"/>
                <a:gd name="T18" fmla="*/ 51 w 77"/>
                <a:gd name="T1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44">
                  <a:moveTo>
                    <a:pt x="51" y="44"/>
                  </a:moveTo>
                  <a:cubicBezTo>
                    <a:pt x="58" y="44"/>
                    <a:pt x="64" y="43"/>
                    <a:pt x="70" y="41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51" y="10"/>
                    <a:pt x="38" y="8"/>
                    <a:pt x="18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25" y="41"/>
                    <a:pt x="39" y="44"/>
                    <a:pt x="51" y="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4" name="Freeform 168"/>
            <p:cNvSpPr>
              <a:spLocks/>
            </p:cNvSpPr>
            <p:nvPr/>
          </p:nvSpPr>
          <p:spPr bwMode="black">
            <a:xfrm>
              <a:off x="7010405" y="2646362"/>
              <a:ext cx="26989" cy="52388"/>
            </a:xfrm>
            <a:custGeom>
              <a:avLst/>
              <a:gdLst>
                <a:gd name="T0" fmla="*/ 36 w 36"/>
                <a:gd name="T1" fmla="*/ 61 h 70"/>
                <a:gd name="T2" fmla="*/ 35 w 36"/>
                <a:gd name="T3" fmla="*/ 22 h 70"/>
                <a:gd name="T4" fmla="*/ 35 w 36"/>
                <a:gd name="T5" fmla="*/ 8 h 70"/>
                <a:gd name="T6" fmla="*/ 35 w 36"/>
                <a:gd name="T7" fmla="*/ 1 h 70"/>
                <a:gd name="T8" fmla="*/ 0 w 36"/>
                <a:gd name="T9" fmla="*/ 0 h 70"/>
                <a:gd name="T10" fmla="*/ 0 w 36"/>
                <a:gd name="T11" fmla="*/ 8 h 70"/>
                <a:gd name="T12" fmla="*/ 0 w 36"/>
                <a:gd name="T13" fmla="*/ 22 h 70"/>
                <a:gd name="T14" fmla="*/ 1 w 36"/>
                <a:gd name="T15" fmla="*/ 62 h 70"/>
                <a:gd name="T16" fmla="*/ 1 w 36"/>
                <a:gd name="T17" fmla="*/ 70 h 70"/>
                <a:gd name="T18" fmla="*/ 36 w 36"/>
                <a:gd name="T19" fmla="*/ 68 h 70"/>
                <a:gd name="T20" fmla="*/ 36 w 36"/>
                <a:gd name="T21" fmla="*/ 6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70">
                  <a:moveTo>
                    <a:pt x="36" y="61"/>
                  </a:moveTo>
                  <a:cubicBezTo>
                    <a:pt x="35" y="47"/>
                    <a:pt x="35" y="34"/>
                    <a:pt x="35" y="22"/>
                  </a:cubicBezTo>
                  <a:cubicBezTo>
                    <a:pt x="35" y="17"/>
                    <a:pt x="35" y="13"/>
                    <a:pt x="35" y="8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2"/>
                    <a:pt x="0" y="17"/>
                    <a:pt x="0" y="22"/>
                  </a:cubicBezTo>
                  <a:cubicBezTo>
                    <a:pt x="0" y="34"/>
                    <a:pt x="0" y="48"/>
                    <a:pt x="1" y="62"/>
                  </a:cubicBezTo>
                  <a:cubicBezTo>
                    <a:pt x="1" y="70"/>
                    <a:pt x="1" y="70"/>
                    <a:pt x="1" y="70"/>
                  </a:cubicBezTo>
                  <a:cubicBezTo>
                    <a:pt x="36" y="68"/>
                    <a:pt x="36" y="68"/>
                    <a:pt x="36" y="68"/>
                  </a:cubicBezTo>
                  <a:lnTo>
                    <a:pt x="36" y="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5" name="Freeform 169"/>
            <p:cNvSpPr>
              <a:spLocks/>
            </p:cNvSpPr>
            <p:nvPr/>
          </p:nvSpPr>
          <p:spPr bwMode="black">
            <a:xfrm>
              <a:off x="7608893" y="2187575"/>
              <a:ext cx="58738" cy="47624"/>
            </a:xfrm>
            <a:custGeom>
              <a:avLst/>
              <a:gdLst>
                <a:gd name="T0" fmla="*/ 37 w 37"/>
                <a:gd name="T1" fmla="*/ 14 h 30"/>
                <a:gd name="T2" fmla="*/ 29 w 37"/>
                <a:gd name="T3" fmla="*/ 0 h 30"/>
                <a:gd name="T4" fmla="*/ 0 w 37"/>
                <a:gd name="T5" fmla="*/ 15 h 30"/>
                <a:gd name="T6" fmla="*/ 8 w 37"/>
                <a:gd name="T7" fmla="*/ 30 h 30"/>
                <a:gd name="T8" fmla="*/ 37 w 37"/>
                <a:gd name="T9" fmla="*/ 1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0">
                  <a:moveTo>
                    <a:pt x="37" y="14"/>
                  </a:moveTo>
                  <a:lnTo>
                    <a:pt x="29" y="0"/>
                  </a:lnTo>
                  <a:lnTo>
                    <a:pt x="0" y="15"/>
                  </a:lnTo>
                  <a:lnTo>
                    <a:pt x="8" y="30"/>
                  </a:lnTo>
                  <a:lnTo>
                    <a:pt x="37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6" name="Freeform 170"/>
            <p:cNvSpPr>
              <a:spLocks/>
            </p:cNvSpPr>
            <p:nvPr/>
          </p:nvSpPr>
          <p:spPr bwMode="black">
            <a:xfrm>
              <a:off x="7011992" y="2566987"/>
              <a:ext cx="34926" cy="53975"/>
            </a:xfrm>
            <a:custGeom>
              <a:avLst/>
              <a:gdLst>
                <a:gd name="T0" fmla="*/ 36 w 46"/>
                <a:gd name="T1" fmla="*/ 64 h 72"/>
                <a:gd name="T2" fmla="*/ 37 w 46"/>
                <a:gd name="T3" fmla="*/ 61 h 72"/>
                <a:gd name="T4" fmla="*/ 46 w 46"/>
                <a:gd name="T5" fmla="*/ 21 h 72"/>
                <a:gd name="T6" fmla="*/ 46 w 46"/>
                <a:gd name="T7" fmla="*/ 7 h 72"/>
                <a:gd name="T8" fmla="*/ 45 w 46"/>
                <a:gd name="T9" fmla="*/ 0 h 72"/>
                <a:gd name="T10" fmla="*/ 10 w 46"/>
                <a:gd name="T11" fmla="*/ 2 h 72"/>
                <a:gd name="T12" fmla="*/ 11 w 46"/>
                <a:gd name="T13" fmla="*/ 10 h 72"/>
                <a:gd name="T14" fmla="*/ 11 w 46"/>
                <a:gd name="T15" fmla="*/ 21 h 72"/>
                <a:gd name="T16" fmla="*/ 8 w 46"/>
                <a:gd name="T17" fmla="*/ 42 h 72"/>
                <a:gd name="T18" fmla="*/ 2 w 46"/>
                <a:gd name="T19" fmla="*/ 56 h 72"/>
                <a:gd name="T20" fmla="*/ 0 w 46"/>
                <a:gd name="T21" fmla="*/ 63 h 72"/>
                <a:gd name="T22" fmla="*/ 34 w 46"/>
                <a:gd name="T23" fmla="*/ 72 h 72"/>
                <a:gd name="T24" fmla="*/ 36 w 46"/>
                <a:gd name="T25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72">
                  <a:moveTo>
                    <a:pt x="36" y="64"/>
                  </a:moveTo>
                  <a:cubicBezTo>
                    <a:pt x="37" y="62"/>
                    <a:pt x="37" y="61"/>
                    <a:pt x="37" y="61"/>
                  </a:cubicBezTo>
                  <a:cubicBezTo>
                    <a:pt x="43" y="51"/>
                    <a:pt x="46" y="38"/>
                    <a:pt x="46" y="21"/>
                  </a:cubicBezTo>
                  <a:cubicBezTo>
                    <a:pt x="46" y="17"/>
                    <a:pt x="46" y="12"/>
                    <a:pt x="46" y="7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4"/>
                    <a:pt x="11" y="17"/>
                    <a:pt x="11" y="21"/>
                  </a:cubicBezTo>
                  <a:cubicBezTo>
                    <a:pt x="11" y="35"/>
                    <a:pt x="9" y="40"/>
                    <a:pt x="8" y="42"/>
                  </a:cubicBezTo>
                  <a:cubicBezTo>
                    <a:pt x="5" y="46"/>
                    <a:pt x="3" y="50"/>
                    <a:pt x="2" y="56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4" y="72"/>
                    <a:pt x="34" y="72"/>
                    <a:pt x="34" y="72"/>
                  </a:cubicBezTo>
                  <a:lnTo>
                    <a:pt x="36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7" name="Freeform 171"/>
            <p:cNvSpPr>
              <a:spLocks/>
            </p:cNvSpPr>
            <p:nvPr/>
          </p:nvSpPr>
          <p:spPr bwMode="black">
            <a:xfrm>
              <a:off x="7011992" y="2484438"/>
              <a:ext cx="34926" cy="57151"/>
            </a:xfrm>
            <a:custGeom>
              <a:avLst/>
              <a:gdLst>
                <a:gd name="T0" fmla="*/ 5 w 46"/>
                <a:gd name="T1" fmla="*/ 76 h 76"/>
                <a:gd name="T2" fmla="*/ 39 w 46"/>
                <a:gd name="T3" fmla="*/ 70 h 76"/>
                <a:gd name="T4" fmla="*/ 38 w 46"/>
                <a:gd name="T5" fmla="*/ 63 h 76"/>
                <a:gd name="T6" fmla="*/ 36 w 46"/>
                <a:gd name="T7" fmla="*/ 46 h 76"/>
                <a:gd name="T8" fmla="*/ 43 w 46"/>
                <a:gd name="T9" fmla="*/ 21 h 76"/>
                <a:gd name="T10" fmla="*/ 46 w 46"/>
                <a:gd name="T11" fmla="*/ 14 h 76"/>
                <a:gd name="T12" fmla="*/ 13 w 46"/>
                <a:gd name="T13" fmla="*/ 0 h 76"/>
                <a:gd name="T14" fmla="*/ 11 w 46"/>
                <a:gd name="T15" fmla="*/ 7 h 76"/>
                <a:gd name="T16" fmla="*/ 0 w 46"/>
                <a:gd name="T17" fmla="*/ 46 h 76"/>
                <a:gd name="T18" fmla="*/ 3 w 46"/>
                <a:gd name="T19" fmla="*/ 69 h 76"/>
                <a:gd name="T20" fmla="*/ 5 w 46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76">
                  <a:moveTo>
                    <a:pt x="5" y="76"/>
                  </a:moveTo>
                  <a:cubicBezTo>
                    <a:pt x="39" y="70"/>
                    <a:pt x="39" y="70"/>
                    <a:pt x="39" y="70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37" y="58"/>
                    <a:pt x="36" y="49"/>
                    <a:pt x="36" y="46"/>
                  </a:cubicBezTo>
                  <a:cubicBezTo>
                    <a:pt x="36" y="43"/>
                    <a:pt x="37" y="35"/>
                    <a:pt x="43" y="2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6" y="18"/>
                    <a:pt x="0" y="34"/>
                    <a:pt x="0" y="46"/>
                  </a:cubicBezTo>
                  <a:cubicBezTo>
                    <a:pt x="0" y="51"/>
                    <a:pt x="1" y="58"/>
                    <a:pt x="3" y="69"/>
                  </a:cubicBezTo>
                  <a:lnTo>
                    <a:pt x="5" y="7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8" name="Freeform 172"/>
            <p:cNvSpPr>
              <a:spLocks/>
            </p:cNvSpPr>
            <p:nvPr/>
          </p:nvSpPr>
          <p:spPr bwMode="black">
            <a:xfrm>
              <a:off x="8045454" y="2289175"/>
              <a:ext cx="58738" cy="47624"/>
            </a:xfrm>
            <a:custGeom>
              <a:avLst/>
              <a:gdLst>
                <a:gd name="T0" fmla="*/ 53 w 77"/>
                <a:gd name="T1" fmla="*/ 61 h 64"/>
                <a:gd name="T2" fmla="*/ 60 w 77"/>
                <a:gd name="T3" fmla="*/ 64 h 64"/>
                <a:gd name="T4" fmla="*/ 77 w 77"/>
                <a:gd name="T5" fmla="*/ 34 h 64"/>
                <a:gd name="T6" fmla="*/ 70 w 77"/>
                <a:gd name="T7" fmla="*/ 30 h 64"/>
                <a:gd name="T8" fmla="*/ 23 w 77"/>
                <a:gd name="T9" fmla="*/ 4 h 64"/>
                <a:gd name="T10" fmla="*/ 17 w 77"/>
                <a:gd name="T11" fmla="*/ 0 h 64"/>
                <a:gd name="T12" fmla="*/ 0 w 77"/>
                <a:gd name="T13" fmla="*/ 31 h 64"/>
                <a:gd name="T14" fmla="*/ 6 w 77"/>
                <a:gd name="T15" fmla="*/ 35 h 64"/>
                <a:gd name="T16" fmla="*/ 53 w 77"/>
                <a:gd name="T17" fmla="*/ 6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64">
                  <a:moveTo>
                    <a:pt x="53" y="61"/>
                  </a:moveTo>
                  <a:cubicBezTo>
                    <a:pt x="60" y="64"/>
                    <a:pt x="60" y="64"/>
                    <a:pt x="60" y="64"/>
                  </a:cubicBezTo>
                  <a:cubicBezTo>
                    <a:pt x="77" y="34"/>
                    <a:pt x="77" y="34"/>
                    <a:pt x="77" y="34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54" y="21"/>
                    <a:pt x="39" y="12"/>
                    <a:pt x="23" y="4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24" y="45"/>
                    <a:pt x="39" y="53"/>
                    <a:pt x="53" y="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9" name="Freeform 173"/>
            <p:cNvSpPr>
              <a:spLocks/>
            </p:cNvSpPr>
            <p:nvPr/>
          </p:nvSpPr>
          <p:spPr bwMode="black">
            <a:xfrm>
              <a:off x="8251830" y="2411414"/>
              <a:ext cx="58738" cy="50800"/>
            </a:xfrm>
            <a:custGeom>
              <a:avLst/>
              <a:gdLst>
                <a:gd name="T0" fmla="*/ 51 w 77"/>
                <a:gd name="T1" fmla="*/ 63 h 67"/>
                <a:gd name="T2" fmla="*/ 57 w 77"/>
                <a:gd name="T3" fmla="*/ 67 h 67"/>
                <a:gd name="T4" fmla="*/ 77 w 77"/>
                <a:gd name="T5" fmla="*/ 38 h 67"/>
                <a:gd name="T6" fmla="*/ 71 w 77"/>
                <a:gd name="T7" fmla="*/ 34 h 67"/>
                <a:gd name="T8" fmla="*/ 26 w 77"/>
                <a:gd name="T9" fmla="*/ 4 h 67"/>
                <a:gd name="T10" fmla="*/ 19 w 77"/>
                <a:gd name="T11" fmla="*/ 0 h 67"/>
                <a:gd name="T12" fmla="*/ 0 w 77"/>
                <a:gd name="T13" fmla="*/ 29 h 67"/>
                <a:gd name="T14" fmla="*/ 7 w 77"/>
                <a:gd name="T15" fmla="*/ 33 h 67"/>
                <a:gd name="T16" fmla="*/ 51 w 77"/>
                <a:gd name="T17" fmla="*/ 6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67">
                  <a:moveTo>
                    <a:pt x="51" y="63"/>
                  </a:moveTo>
                  <a:cubicBezTo>
                    <a:pt x="57" y="67"/>
                    <a:pt x="57" y="67"/>
                    <a:pt x="57" y="67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58" y="25"/>
                    <a:pt x="42" y="15"/>
                    <a:pt x="26" y="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23" y="44"/>
                    <a:pt x="38" y="54"/>
                    <a:pt x="51" y="6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0" name="Freeform 174"/>
            <p:cNvSpPr>
              <a:spLocks/>
            </p:cNvSpPr>
            <p:nvPr/>
          </p:nvSpPr>
          <p:spPr bwMode="black">
            <a:xfrm>
              <a:off x="8185155" y="2368551"/>
              <a:ext cx="57151" cy="49212"/>
            </a:xfrm>
            <a:custGeom>
              <a:avLst/>
              <a:gdLst>
                <a:gd name="T0" fmla="*/ 52 w 77"/>
                <a:gd name="T1" fmla="*/ 62 h 66"/>
                <a:gd name="T2" fmla="*/ 58 w 77"/>
                <a:gd name="T3" fmla="*/ 66 h 66"/>
                <a:gd name="T4" fmla="*/ 77 w 77"/>
                <a:gd name="T5" fmla="*/ 36 h 66"/>
                <a:gd name="T6" fmla="*/ 70 w 77"/>
                <a:gd name="T7" fmla="*/ 32 h 66"/>
                <a:gd name="T8" fmla="*/ 24 w 77"/>
                <a:gd name="T9" fmla="*/ 4 h 66"/>
                <a:gd name="T10" fmla="*/ 18 w 77"/>
                <a:gd name="T11" fmla="*/ 0 h 66"/>
                <a:gd name="T12" fmla="*/ 0 w 77"/>
                <a:gd name="T13" fmla="*/ 31 h 66"/>
                <a:gd name="T14" fmla="*/ 6 w 77"/>
                <a:gd name="T15" fmla="*/ 35 h 66"/>
                <a:gd name="T16" fmla="*/ 52 w 77"/>
                <a:gd name="T17" fmla="*/ 6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66">
                  <a:moveTo>
                    <a:pt x="52" y="62"/>
                  </a:moveTo>
                  <a:cubicBezTo>
                    <a:pt x="58" y="66"/>
                    <a:pt x="58" y="66"/>
                    <a:pt x="58" y="6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56" y="23"/>
                    <a:pt x="41" y="14"/>
                    <a:pt x="24" y="4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23" y="44"/>
                    <a:pt x="38" y="53"/>
                    <a:pt x="52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1" name="Freeform 175"/>
            <p:cNvSpPr>
              <a:spLocks/>
            </p:cNvSpPr>
            <p:nvPr/>
          </p:nvSpPr>
          <p:spPr bwMode="black">
            <a:xfrm>
              <a:off x="8356605" y="2528887"/>
              <a:ext cx="33338" cy="55563"/>
            </a:xfrm>
            <a:custGeom>
              <a:avLst/>
              <a:gdLst>
                <a:gd name="T0" fmla="*/ 2 w 44"/>
                <a:gd name="T1" fmla="*/ 15 h 73"/>
                <a:gd name="T2" fmla="*/ 9 w 44"/>
                <a:gd name="T3" fmla="*/ 65 h 73"/>
                <a:gd name="T4" fmla="*/ 9 w 44"/>
                <a:gd name="T5" fmla="*/ 73 h 73"/>
                <a:gd name="T6" fmla="*/ 44 w 44"/>
                <a:gd name="T7" fmla="*/ 70 h 73"/>
                <a:gd name="T8" fmla="*/ 44 w 44"/>
                <a:gd name="T9" fmla="*/ 62 h 73"/>
                <a:gd name="T10" fmla="*/ 36 w 44"/>
                <a:gd name="T11" fmla="*/ 7 h 73"/>
                <a:gd name="T12" fmla="*/ 35 w 44"/>
                <a:gd name="T13" fmla="*/ 0 h 73"/>
                <a:gd name="T14" fmla="*/ 0 w 44"/>
                <a:gd name="T15" fmla="*/ 7 h 73"/>
                <a:gd name="T16" fmla="*/ 2 w 44"/>
                <a:gd name="T17" fmla="*/ 1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73">
                  <a:moveTo>
                    <a:pt x="2" y="15"/>
                  </a:moveTo>
                  <a:cubicBezTo>
                    <a:pt x="5" y="29"/>
                    <a:pt x="7" y="46"/>
                    <a:pt x="9" y="65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2" y="42"/>
                    <a:pt x="39" y="24"/>
                    <a:pt x="36" y="7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2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2" name="Freeform 176"/>
            <p:cNvSpPr>
              <a:spLocks/>
            </p:cNvSpPr>
            <p:nvPr/>
          </p:nvSpPr>
          <p:spPr bwMode="black">
            <a:xfrm>
              <a:off x="8316919" y="2457450"/>
              <a:ext cx="55563" cy="52388"/>
            </a:xfrm>
            <a:custGeom>
              <a:avLst/>
              <a:gdLst>
                <a:gd name="T0" fmla="*/ 38 w 73"/>
                <a:gd name="T1" fmla="*/ 65 h 71"/>
                <a:gd name="T2" fmla="*/ 42 w 73"/>
                <a:gd name="T3" fmla="*/ 71 h 71"/>
                <a:gd name="T4" fmla="*/ 73 w 73"/>
                <a:gd name="T5" fmla="*/ 55 h 71"/>
                <a:gd name="T6" fmla="*/ 69 w 73"/>
                <a:gd name="T7" fmla="*/ 48 h 71"/>
                <a:gd name="T8" fmla="*/ 28 w 73"/>
                <a:gd name="T9" fmla="*/ 5 h 71"/>
                <a:gd name="T10" fmla="*/ 22 w 73"/>
                <a:gd name="T11" fmla="*/ 0 h 71"/>
                <a:gd name="T12" fmla="*/ 0 w 73"/>
                <a:gd name="T13" fmla="*/ 28 h 71"/>
                <a:gd name="T14" fmla="*/ 6 w 73"/>
                <a:gd name="T15" fmla="*/ 33 h 71"/>
                <a:gd name="T16" fmla="*/ 38 w 73"/>
                <a:gd name="T17" fmla="*/ 65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71">
                  <a:moveTo>
                    <a:pt x="38" y="65"/>
                  </a:moveTo>
                  <a:cubicBezTo>
                    <a:pt x="42" y="71"/>
                    <a:pt x="42" y="71"/>
                    <a:pt x="42" y="71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3" y="36"/>
                    <a:pt x="50" y="23"/>
                    <a:pt x="28" y="5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30" y="52"/>
                    <a:pt x="37" y="62"/>
                    <a:pt x="38" y="6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3" name="Freeform 177"/>
            <p:cNvSpPr>
              <a:spLocks/>
            </p:cNvSpPr>
            <p:nvPr/>
          </p:nvSpPr>
          <p:spPr bwMode="black">
            <a:xfrm>
              <a:off x="8115306" y="2328863"/>
              <a:ext cx="58738" cy="47624"/>
            </a:xfrm>
            <a:custGeom>
              <a:avLst/>
              <a:gdLst>
                <a:gd name="T0" fmla="*/ 52 w 77"/>
                <a:gd name="T1" fmla="*/ 60 h 64"/>
                <a:gd name="T2" fmla="*/ 59 w 77"/>
                <a:gd name="T3" fmla="*/ 64 h 64"/>
                <a:gd name="T4" fmla="*/ 77 w 77"/>
                <a:gd name="T5" fmla="*/ 34 h 64"/>
                <a:gd name="T6" fmla="*/ 70 w 77"/>
                <a:gd name="T7" fmla="*/ 30 h 64"/>
                <a:gd name="T8" fmla="*/ 24 w 77"/>
                <a:gd name="T9" fmla="*/ 3 h 64"/>
                <a:gd name="T10" fmla="*/ 17 w 77"/>
                <a:gd name="T11" fmla="*/ 0 h 64"/>
                <a:gd name="T12" fmla="*/ 0 w 77"/>
                <a:gd name="T13" fmla="*/ 30 h 64"/>
                <a:gd name="T14" fmla="*/ 6 w 77"/>
                <a:gd name="T15" fmla="*/ 34 h 64"/>
                <a:gd name="T16" fmla="*/ 52 w 77"/>
                <a:gd name="T17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64">
                  <a:moveTo>
                    <a:pt x="52" y="60"/>
                  </a:moveTo>
                  <a:cubicBezTo>
                    <a:pt x="59" y="64"/>
                    <a:pt x="59" y="64"/>
                    <a:pt x="59" y="64"/>
                  </a:cubicBezTo>
                  <a:cubicBezTo>
                    <a:pt x="77" y="34"/>
                    <a:pt x="77" y="34"/>
                    <a:pt x="77" y="34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55" y="22"/>
                    <a:pt x="40" y="13"/>
                    <a:pt x="24" y="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22" y="43"/>
                    <a:pt x="38" y="52"/>
                    <a:pt x="52" y="6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4" name="Freeform 178"/>
            <p:cNvSpPr>
              <a:spLocks/>
            </p:cNvSpPr>
            <p:nvPr/>
          </p:nvSpPr>
          <p:spPr bwMode="black">
            <a:xfrm>
              <a:off x="7821618" y="2162175"/>
              <a:ext cx="58738" cy="49212"/>
            </a:xfrm>
            <a:custGeom>
              <a:avLst/>
              <a:gdLst>
                <a:gd name="T0" fmla="*/ 52 w 77"/>
                <a:gd name="T1" fmla="*/ 62 h 66"/>
                <a:gd name="T2" fmla="*/ 59 w 77"/>
                <a:gd name="T3" fmla="*/ 66 h 66"/>
                <a:gd name="T4" fmla="*/ 77 w 77"/>
                <a:gd name="T5" fmla="*/ 36 h 66"/>
                <a:gd name="T6" fmla="*/ 71 w 77"/>
                <a:gd name="T7" fmla="*/ 32 h 66"/>
                <a:gd name="T8" fmla="*/ 24 w 77"/>
                <a:gd name="T9" fmla="*/ 4 h 66"/>
                <a:gd name="T10" fmla="*/ 18 w 77"/>
                <a:gd name="T11" fmla="*/ 0 h 66"/>
                <a:gd name="T12" fmla="*/ 0 w 77"/>
                <a:gd name="T13" fmla="*/ 31 h 66"/>
                <a:gd name="T14" fmla="*/ 7 w 77"/>
                <a:gd name="T15" fmla="*/ 35 h 66"/>
                <a:gd name="T16" fmla="*/ 52 w 77"/>
                <a:gd name="T17" fmla="*/ 6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66">
                  <a:moveTo>
                    <a:pt x="52" y="62"/>
                  </a:moveTo>
                  <a:cubicBezTo>
                    <a:pt x="59" y="66"/>
                    <a:pt x="59" y="66"/>
                    <a:pt x="59" y="6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54" y="21"/>
                    <a:pt x="39" y="12"/>
                    <a:pt x="24" y="4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21" y="42"/>
                    <a:pt x="36" y="51"/>
                    <a:pt x="52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5" name="Freeform 179"/>
            <p:cNvSpPr>
              <a:spLocks/>
            </p:cNvSpPr>
            <p:nvPr/>
          </p:nvSpPr>
          <p:spPr bwMode="black">
            <a:xfrm>
              <a:off x="7754943" y="2133600"/>
              <a:ext cx="53976" cy="39688"/>
            </a:xfrm>
            <a:custGeom>
              <a:avLst/>
              <a:gdLst>
                <a:gd name="T0" fmla="*/ 10 w 73"/>
                <a:gd name="T1" fmla="*/ 35 h 52"/>
                <a:gd name="T2" fmla="*/ 15 w 73"/>
                <a:gd name="T3" fmla="*/ 35 h 52"/>
                <a:gd name="T4" fmla="*/ 51 w 73"/>
                <a:gd name="T5" fmla="*/ 48 h 52"/>
                <a:gd name="T6" fmla="*/ 58 w 73"/>
                <a:gd name="T7" fmla="*/ 52 h 52"/>
                <a:gd name="T8" fmla="*/ 73 w 73"/>
                <a:gd name="T9" fmla="*/ 20 h 52"/>
                <a:gd name="T10" fmla="*/ 66 w 73"/>
                <a:gd name="T11" fmla="*/ 17 h 52"/>
                <a:gd name="T12" fmla="*/ 19 w 73"/>
                <a:gd name="T13" fmla="*/ 0 h 52"/>
                <a:gd name="T14" fmla="*/ 10 w 73"/>
                <a:gd name="T15" fmla="*/ 0 h 52"/>
                <a:gd name="T16" fmla="*/ 10 w 73"/>
                <a:gd name="T17" fmla="*/ 0 h 52"/>
                <a:gd name="T18" fmla="*/ 0 w 73"/>
                <a:gd name="T19" fmla="*/ 0 h 52"/>
                <a:gd name="T20" fmla="*/ 1 w 73"/>
                <a:gd name="T21" fmla="*/ 35 h 52"/>
                <a:gd name="T22" fmla="*/ 10 w 73"/>
                <a:gd name="T23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" h="52">
                  <a:moveTo>
                    <a:pt x="10" y="35"/>
                  </a:moveTo>
                  <a:cubicBezTo>
                    <a:pt x="11" y="35"/>
                    <a:pt x="13" y="35"/>
                    <a:pt x="15" y="35"/>
                  </a:cubicBezTo>
                  <a:cubicBezTo>
                    <a:pt x="19" y="36"/>
                    <a:pt x="30" y="38"/>
                    <a:pt x="51" y="48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46" y="7"/>
                    <a:pt x="31" y="2"/>
                    <a:pt x="19" y="0"/>
                  </a:cubicBezTo>
                  <a:cubicBezTo>
                    <a:pt x="16" y="0"/>
                    <a:pt x="13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35"/>
                    <a:pt x="1" y="35"/>
                    <a:pt x="1" y="35"/>
                  </a:cubicBezTo>
                  <a:lnTo>
                    <a:pt x="10" y="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6" name="Freeform 180"/>
            <p:cNvSpPr>
              <a:spLocks/>
            </p:cNvSpPr>
            <p:nvPr/>
          </p:nvSpPr>
          <p:spPr bwMode="black">
            <a:xfrm>
              <a:off x="7677155" y="2144712"/>
              <a:ext cx="57151" cy="49212"/>
            </a:xfrm>
            <a:custGeom>
              <a:avLst/>
              <a:gdLst>
                <a:gd name="T0" fmla="*/ 27 w 76"/>
                <a:gd name="T1" fmla="*/ 61 h 66"/>
                <a:gd name="T2" fmla="*/ 69 w 76"/>
                <a:gd name="T3" fmla="*/ 35 h 66"/>
                <a:gd name="T4" fmla="*/ 76 w 76"/>
                <a:gd name="T5" fmla="*/ 31 h 66"/>
                <a:gd name="T6" fmla="*/ 60 w 76"/>
                <a:gd name="T7" fmla="*/ 0 h 66"/>
                <a:gd name="T8" fmla="*/ 53 w 76"/>
                <a:gd name="T9" fmla="*/ 3 h 66"/>
                <a:gd name="T10" fmla="*/ 6 w 76"/>
                <a:gd name="T11" fmla="*/ 33 h 66"/>
                <a:gd name="T12" fmla="*/ 0 w 76"/>
                <a:gd name="T13" fmla="*/ 38 h 66"/>
                <a:gd name="T14" fmla="*/ 21 w 76"/>
                <a:gd name="T15" fmla="*/ 66 h 66"/>
                <a:gd name="T16" fmla="*/ 27 w 76"/>
                <a:gd name="T17" fmla="*/ 6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66">
                  <a:moveTo>
                    <a:pt x="27" y="61"/>
                  </a:moveTo>
                  <a:cubicBezTo>
                    <a:pt x="37" y="54"/>
                    <a:pt x="52" y="43"/>
                    <a:pt x="69" y="35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34" y="13"/>
                    <a:pt x="17" y="25"/>
                    <a:pt x="6" y="33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21" y="66"/>
                    <a:pt x="21" y="66"/>
                    <a:pt x="21" y="66"/>
                  </a:cubicBezTo>
                  <a:lnTo>
                    <a:pt x="27" y="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7" name="Freeform 181"/>
            <p:cNvSpPr>
              <a:spLocks/>
            </p:cNvSpPr>
            <p:nvPr/>
          </p:nvSpPr>
          <p:spPr bwMode="black">
            <a:xfrm>
              <a:off x="7026278" y="2797174"/>
              <a:ext cx="57151" cy="49212"/>
            </a:xfrm>
            <a:custGeom>
              <a:avLst/>
              <a:gdLst>
                <a:gd name="T0" fmla="*/ 31 w 76"/>
                <a:gd name="T1" fmla="*/ 5 h 67"/>
                <a:gd name="T2" fmla="*/ 26 w 76"/>
                <a:gd name="T3" fmla="*/ 0 h 67"/>
                <a:gd name="T4" fmla="*/ 0 w 76"/>
                <a:gd name="T5" fmla="*/ 23 h 67"/>
                <a:gd name="T6" fmla="*/ 5 w 76"/>
                <a:gd name="T7" fmla="*/ 29 h 67"/>
                <a:gd name="T8" fmla="*/ 53 w 76"/>
                <a:gd name="T9" fmla="*/ 64 h 67"/>
                <a:gd name="T10" fmla="*/ 59 w 76"/>
                <a:gd name="T11" fmla="*/ 67 h 67"/>
                <a:gd name="T12" fmla="*/ 76 w 76"/>
                <a:gd name="T13" fmla="*/ 36 h 67"/>
                <a:gd name="T14" fmla="*/ 69 w 76"/>
                <a:gd name="T15" fmla="*/ 33 h 67"/>
                <a:gd name="T16" fmla="*/ 31 w 76"/>
                <a:gd name="T17" fmla="*/ 5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67">
                  <a:moveTo>
                    <a:pt x="31" y="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18" y="43"/>
                    <a:pt x="38" y="56"/>
                    <a:pt x="53" y="64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52" y="23"/>
                    <a:pt x="38" y="14"/>
                    <a:pt x="31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8" name="Freeform 182"/>
            <p:cNvSpPr>
              <a:spLocks/>
            </p:cNvSpPr>
            <p:nvPr/>
          </p:nvSpPr>
          <p:spPr bwMode="black">
            <a:xfrm>
              <a:off x="7975603" y="2251075"/>
              <a:ext cx="57151" cy="47624"/>
            </a:xfrm>
            <a:custGeom>
              <a:avLst/>
              <a:gdLst>
                <a:gd name="T0" fmla="*/ 54 w 77"/>
                <a:gd name="T1" fmla="*/ 60 h 64"/>
                <a:gd name="T2" fmla="*/ 60 w 77"/>
                <a:gd name="T3" fmla="*/ 64 h 64"/>
                <a:gd name="T4" fmla="*/ 77 w 77"/>
                <a:gd name="T5" fmla="*/ 33 h 64"/>
                <a:gd name="T6" fmla="*/ 71 w 77"/>
                <a:gd name="T7" fmla="*/ 29 h 64"/>
                <a:gd name="T8" fmla="*/ 23 w 77"/>
                <a:gd name="T9" fmla="*/ 4 h 64"/>
                <a:gd name="T10" fmla="*/ 17 w 77"/>
                <a:gd name="T11" fmla="*/ 0 h 64"/>
                <a:gd name="T12" fmla="*/ 0 w 77"/>
                <a:gd name="T13" fmla="*/ 31 h 64"/>
                <a:gd name="T14" fmla="*/ 7 w 77"/>
                <a:gd name="T15" fmla="*/ 35 h 64"/>
                <a:gd name="T16" fmla="*/ 54 w 77"/>
                <a:gd name="T17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64">
                  <a:moveTo>
                    <a:pt x="54" y="60"/>
                  </a:moveTo>
                  <a:cubicBezTo>
                    <a:pt x="60" y="64"/>
                    <a:pt x="60" y="64"/>
                    <a:pt x="60" y="64"/>
                  </a:cubicBezTo>
                  <a:cubicBezTo>
                    <a:pt x="77" y="33"/>
                    <a:pt x="77" y="33"/>
                    <a:pt x="77" y="33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54" y="20"/>
                    <a:pt x="38" y="12"/>
                    <a:pt x="23" y="4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21" y="43"/>
                    <a:pt x="37" y="51"/>
                    <a:pt x="54" y="6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9" name="Freeform 183"/>
            <p:cNvSpPr>
              <a:spLocks/>
            </p:cNvSpPr>
            <p:nvPr/>
          </p:nvSpPr>
          <p:spPr bwMode="black">
            <a:xfrm>
              <a:off x="7889878" y="2203451"/>
              <a:ext cx="73024" cy="57151"/>
            </a:xfrm>
            <a:custGeom>
              <a:avLst/>
              <a:gdLst>
                <a:gd name="T0" fmla="*/ 21 w 97"/>
                <a:gd name="T1" fmla="*/ 44 h 76"/>
                <a:gd name="T2" fmla="*/ 26 w 97"/>
                <a:gd name="T3" fmla="*/ 47 h 76"/>
                <a:gd name="T4" fmla="*/ 27 w 97"/>
                <a:gd name="T5" fmla="*/ 48 h 76"/>
                <a:gd name="T6" fmla="*/ 74 w 97"/>
                <a:gd name="T7" fmla="*/ 73 h 76"/>
                <a:gd name="T8" fmla="*/ 80 w 97"/>
                <a:gd name="T9" fmla="*/ 76 h 76"/>
                <a:gd name="T10" fmla="*/ 97 w 97"/>
                <a:gd name="T11" fmla="*/ 45 h 76"/>
                <a:gd name="T12" fmla="*/ 90 w 97"/>
                <a:gd name="T13" fmla="*/ 41 h 76"/>
                <a:gd name="T14" fmla="*/ 44 w 97"/>
                <a:gd name="T15" fmla="*/ 17 h 76"/>
                <a:gd name="T16" fmla="*/ 44 w 97"/>
                <a:gd name="T17" fmla="*/ 17 h 76"/>
                <a:gd name="T18" fmla="*/ 25 w 97"/>
                <a:gd name="T19" fmla="*/ 5 h 76"/>
                <a:gd name="T20" fmla="*/ 19 w 97"/>
                <a:gd name="T21" fmla="*/ 0 h 76"/>
                <a:gd name="T22" fmla="*/ 0 w 97"/>
                <a:gd name="T23" fmla="*/ 30 h 76"/>
                <a:gd name="T24" fmla="*/ 6 w 97"/>
                <a:gd name="T25" fmla="*/ 34 h 76"/>
                <a:gd name="T26" fmla="*/ 21 w 97"/>
                <a:gd name="T27" fmla="*/ 4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7" h="76">
                  <a:moveTo>
                    <a:pt x="21" y="44"/>
                  </a:moveTo>
                  <a:cubicBezTo>
                    <a:pt x="24" y="46"/>
                    <a:pt x="26" y="47"/>
                    <a:pt x="26" y="47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9" y="49"/>
                    <a:pt x="46" y="58"/>
                    <a:pt x="74" y="73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60" y="26"/>
                    <a:pt x="49" y="20"/>
                    <a:pt x="44" y="17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37" y="12"/>
                    <a:pt x="25" y="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12" y="38"/>
                    <a:pt x="18" y="42"/>
                    <a:pt x="21" y="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0" name="Freeform 184"/>
            <p:cNvSpPr>
              <a:spLocks/>
            </p:cNvSpPr>
            <p:nvPr/>
          </p:nvSpPr>
          <p:spPr bwMode="black">
            <a:xfrm>
              <a:off x="7259641" y="2378075"/>
              <a:ext cx="57151" cy="47624"/>
            </a:xfrm>
            <a:custGeom>
              <a:avLst/>
              <a:gdLst>
                <a:gd name="T0" fmla="*/ 36 w 36"/>
                <a:gd name="T1" fmla="*/ 15 h 30"/>
                <a:gd name="T2" fmla="*/ 28 w 36"/>
                <a:gd name="T3" fmla="*/ 0 h 30"/>
                <a:gd name="T4" fmla="*/ 0 w 36"/>
                <a:gd name="T5" fmla="*/ 16 h 30"/>
                <a:gd name="T6" fmla="*/ 8 w 36"/>
                <a:gd name="T7" fmla="*/ 30 h 30"/>
                <a:gd name="T8" fmla="*/ 36 w 36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0">
                  <a:moveTo>
                    <a:pt x="36" y="15"/>
                  </a:moveTo>
                  <a:lnTo>
                    <a:pt x="28" y="0"/>
                  </a:lnTo>
                  <a:lnTo>
                    <a:pt x="0" y="16"/>
                  </a:lnTo>
                  <a:lnTo>
                    <a:pt x="8" y="30"/>
                  </a:lnTo>
                  <a:lnTo>
                    <a:pt x="36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1" name="Freeform 185"/>
            <p:cNvSpPr>
              <a:spLocks/>
            </p:cNvSpPr>
            <p:nvPr/>
          </p:nvSpPr>
          <p:spPr bwMode="black">
            <a:xfrm>
              <a:off x="8091491" y="2879725"/>
              <a:ext cx="57151" cy="47624"/>
            </a:xfrm>
            <a:custGeom>
              <a:avLst/>
              <a:gdLst>
                <a:gd name="T0" fmla="*/ 0 w 36"/>
                <a:gd name="T1" fmla="*/ 16 h 30"/>
                <a:gd name="T2" fmla="*/ 8 w 36"/>
                <a:gd name="T3" fmla="*/ 30 h 30"/>
                <a:gd name="T4" fmla="*/ 36 w 36"/>
                <a:gd name="T5" fmla="*/ 14 h 30"/>
                <a:gd name="T6" fmla="*/ 28 w 36"/>
                <a:gd name="T7" fmla="*/ 0 h 30"/>
                <a:gd name="T8" fmla="*/ 0 w 36"/>
                <a:gd name="T9" fmla="*/ 1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0">
                  <a:moveTo>
                    <a:pt x="0" y="16"/>
                  </a:moveTo>
                  <a:lnTo>
                    <a:pt x="8" y="30"/>
                  </a:lnTo>
                  <a:lnTo>
                    <a:pt x="36" y="14"/>
                  </a:lnTo>
                  <a:lnTo>
                    <a:pt x="28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2" name="Freeform 186"/>
            <p:cNvSpPr>
              <a:spLocks/>
            </p:cNvSpPr>
            <p:nvPr/>
          </p:nvSpPr>
          <p:spPr bwMode="black">
            <a:xfrm>
              <a:off x="7953378" y="2960688"/>
              <a:ext cx="57151" cy="49212"/>
            </a:xfrm>
            <a:custGeom>
              <a:avLst/>
              <a:gdLst>
                <a:gd name="T0" fmla="*/ 52 w 77"/>
                <a:gd name="T1" fmla="*/ 4 h 66"/>
                <a:gd name="T2" fmla="*/ 6 w 77"/>
                <a:gd name="T3" fmla="*/ 32 h 66"/>
                <a:gd name="T4" fmla="*/ 0 w 77"/>
                <a:gd name="T5" fmla="*/ 36 h 66"/>
                <a:gd name="T6" fmla="*/ 18 w 77"/>
                <a:gd name="T7" fmla="*/ 66 h 66"/>
                <a:gd name="T8" fmla="*/ 24 w 77"/>
                <a:gd name="T9" fmla="*/ 62 h 66"/>
                <a:gd name="T10" fmla="*/ 70 w 77"/>
                <a:gd name="T11" fmla="*/ 34 h 66"/>
                <a:gd name="T12" fmla="*/ 77 w 77"/>
                <a:gd name="T13" fmla="*/ 31 h 66"/>
                <a:gd name="T14" fmla="*/ 59 w 77"/>
                <a:gd name="T15" fmla="*/ 0 h 66"/>
                <a:gd name="T16" fmla="*/ 52 w 77"/>
                <a:gd name="T17" fmla="*/ 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66">
                  <a:moveTo>
                    <a:pt x="52" y="4"/>
                  </a:moveTo>
                  <a:cubicBezTo>
                    <a:pt x="35" y="14"/>
                    <a:pt x="20" y="23"/>
                    <a:pt x="6" y="32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39" y="53"/>
                    <a:pt x="54" y="44"/>
                    <a:pt x="70" y="34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59" y="0"/>
                    <a:pt x="59" y="0"/>
                    <a:pt x="59" y="0"/>
                  </a:cubicBezTo>
                  <a:lnTo>
                    <a:pt x="52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3" name="Freeform 187"/>
            <p:cNvSpPr>
              <a:spLocks/>
            </p:cNvSpPr>
            <p:nvPr/>
          </p:nvSpPr>
          <p:spPr bwMode="black">
            <a:xfrm>
              <a:off x="8021640" y="2919413"/>
              <a:ext cx="58738" cy="49212"/>
            </a:xfrm>
            <a:custGeom>
              <a:avLst/>
              <a:gdLst>
                <a:gd name="T0" fmla="*/ 52 w 77"/>
                <a:gd name="T1" fmla="*/ 4 h 65"/>
                <a:gd name="T2" fmla="*/ 6 w 77"/>
                <a:gd name="T3" fmla="*/ 31 h 65"/>
                <a:gd name="T4" fmla="*/ 0 w 77"/>
                <a:gd name="T5" fmla="*/ 35 h 65"/>
                <a:gd name="T6" fmla="*/ 17 w 77"/>
                <a:gd name="T7" fmla="*/ 65 h 65"/>
                <a:gd name="T8" fmla="*/ 24 w 77"/>
                <a:gd name="T9" fmla="*/ 61 h 65"/>
                <a:gd name="T10" fmla="*/ 70 w 77"/>
                <a:gd name="T11" fmla="*/ 34 h 65"/>
                <a:gd name="T12" fmla="*/ 77 w 77"/>
                <a:gd name="T13" fmla="*/ 31 h 65"/>
                <a:gd name="T14" fmla="*/ 59 w 77"/>
                <a:gd name="T15" fmla="*/ 0 h 65"/>
                <a:gd name="T16" fmla="*/ 52 w 77"/>
                <a:gd name="T17" fmla="*/ 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65">
                  <a:moveTo>
                    <a:pt x="52" y="4"/>
                  </a:moveTo>
                  <a:cubicBezTo>
                    <a:pt x="37" y="13"/>
                    <a:pt x="21" y="22"/>
                    <a:pt x="6" y="31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39" y="52"/>
                    <a:pt x="55" y="44"/>
                    <a:pt x="70" y="34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59" y="0"/>
                    <a:pt x="59" y="0"/>
                    <a:pt x="59" y="0"/>
                  </a:cubicBezTo>
                  <a:lnTo>
                    <a:pt x="52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4" name="Freeform 188"/>
            <p:cNvSpPr>
              <a:spLocks/>
            </p:cNvSpPr>
            <p:nvPr/>
          </p:nvSpPr>
          <p:spPr bwMode="black">
            <a:xfrm>
              <a:off x="7821616" y="3046412"/>
              <a:ext cx="53976" cy="53975"/>
            </a:xfrm>
            <a:custGeom>
              <a:avLst/>
              <a:gdLst>
                <a:gd name="T0" fmla="*/ 45 w 72"/>
                <a:gd name="T1" fmla="*/ 5 h 72"/>
                <a:gd name="T2" fmla="*/ 10 w 72"/>
                <a:gd name="T3" fmla="*/ 38 h 72"/>
                <a:gd name="T4" fmla="*/ 4 w 72"/>
                <a:gd name="T5" fmla="*/ 48 h 72"/>
                <a:gd name="T6" fmla="*/ 0 w 72"/>
                <a:gd name="T7" fmla="*/ 54 h 72"/>
                <a:gd name="T8" fmla="*/ 30 w 72"/>
                <a:gd name="T9" fmla="*/ 72 h 72"/>
                <a:gd name="T10" fmla="*/ 34 w 72"/>
                <a:gd name="T11" fmla="*/ 66 h 72"/>
                <a:gd name="T12" fmla="*/ 39 w 72"/>
                <a:gd name="T13" fmla="*/ 57 h 72"/>
                <a:gd name="T14" fmla="*/ 66 w 72"/>
                <a:gd name="T15" fmla="*/ 33 h 72"/>
                <a:gd name="T16" fmla="*/ 72 w 72"/>
                <a:gd name="T17" fmla="*/ 28 h 72"/>
                <a:gd name="T18" fmla="*/ 51 w 72"/>
                <a:gd name="T19" fmla="*/ 0 h 72"/>
                <a:gd name="T20" fmla="*/ 45 w 72"/>
                <a:gd name="T21" fmla="*/ 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2" h="72">
                  <a:moveTo>
                    <a:pt x="45" y="5"/>
                  </a:moveTo>
                  <a:cubicBezTo>
                    <a:pt x="26" y="19"/>
                    <a:pt x="15" y="29"/>
                    <a:pt x="10" y="38"/>
                  </a:cubicBezTo>
                  <a:cubicBezTo>
                    <a:pt x="8" y="41"/>
                    <a:pt x="6" y="44"/>
                    <a:pt x="4" y="4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6" y="63"/>
                    <a:pt x="37" y="60"/>
                    <a:pt x="39" y="57"/>
                  </a:cubicBezTo>
                  <a:cubicBezTo>
                    <a:pt x="40" y="55"/>
                    <a:pt x="45" y="49"/>
                    <a:pt x="66" y="33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45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5" name="Freeform 189"/>
            <p:cNvSpPr>
              <a:spLocks/>
            </p:cNvSpPr>
            <p:nvPr/>
          </p:nvSpPr>
          <p:spPr bwMode="black">
            <a:xfrm>
              <a:off x="7885116" y="3001961"/>
              <a:ext cx="57151" cy="49212"/>
            </a:xfrm>
            <a:custGeom>
              <a:avLst/>
              <a:gdLst>
                <a:gd name="T0" fmla="*/ 51 w 77"/>
                <a:gd name="T1" fmla="*/ 4 h 66"/>
                <a:gd name="T2" fmla="*/ 6 w 77"/>
                <a:gd name="T3" fmla="*/ 33 h 66"/>
                <a:gd name="T4" fmla="*/ 0 w 77"/>
                <a:gd name="T5" fmla="*/ 37 h 66"/>
                <a:gd name="T6" fmla="*/ 19 w 77"/>
                <a:gd name="T7" fmla="*/ 66 h 66"/>
                <a:gd name="T8" fmla="*/ 25 w 77"/>
                <a:gd name="T9" fmla="*/ 62 h 66"/>
                <a:gd name="T10" fmla="*/ 70 w 77"/>
                <a:gd name="T11" fmla="*/ 34 h 66"/>
                <a:gd name="T12" fmla="*/ 77 w 77"/>
                <a:gd name="T13" fmla="*/ 30 h 66"/>
                <a:gd name="T14" fmla="*/ 58 w 77"/>
                <a:gd name="T15" fmla="*/ 0 h 66"/>
                <a:gd name="T16" fmla="*/ 51 w 77"/>
                <a:gd name="T17" fmla="*/ 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66">
                  <a:moveTo>
                    <a:pt x="51" y="4"/>
                  </a:moveTo>
                  <a:cubicBezTo>
                    <a:pt x="35" y="14"/>
                    <a:pt x="19" y="24"/>
                    <a:pt x="6" y="33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39" y="53"/>
                    <a:pt x="54" y="44"/>
                    <a:pt x="70" y="34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58" y="0"/>
                    <a:pt x="58" y="0"/>
                    <a:pt x="58" y="0"/>
                  </a:cubicBezTo>
                  <a:lnTo>
                    <a:pt x="51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6" name="Freeform 190"/>
            <p:cNvSpPr>
              <a:spLocks/>
            </p:cNvSpPr>
            <p:nvPr/>
          </p:nvSpPr>
          <p:spPr bwMode="black">
            <a:xfrm>
              <a:off x="8159753" y="2840037"/>
              <a:ext cx="58738" cy="47624"/>
            </a:xfrm>
            <a:custGeom>
              <a:avLst/>
              <a:gdLst>
                <a:gd name="T0" fmla="*/ 0 w 37"/>
                <a:gd name="T1" fmla="*/ 16 h 30"/>
                <a:gd name="T2" fmla="*/ 9 w 37"/>
                <a:gd name="T3" fmla="*/ 30 h 30"/>
                <a:gd name="T4" fmla="*/ 37 w 37"/>
                <a:gd name="T5" fmla="*/ 14 h 30"/>
                <a:gd name="T6" fmla="*/ 28 w 37"/>
                <a:gd name="T7" fmla="*/ 0 h 30"/>
                <a:gd name="T8" fmla="*/ 0 w 37"/>
                <a:gd name="T9" fmla="*/ 1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0">
                  <a:moveTo>
                    <a:pt x="0" y="16"/>
                  </a:moveTo>
                  <a:lnTo>
                    <a:pt x="9" y="30"/>
                  </a:lnTo>
                  <a:lnTo>
                    <a:pt x="37" y="14"/>
                  </a:lnTo>
                  <a:lnTo>
                    <a:pt x="28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7" name="Freeform 191"/>
            <p:cNvSpPr>
              <a:spLocks/>
            </p:cNvSpPr>
            <p:nvPr/>
          </p:nvSpPr>
          <p:spPr bwMode="black">
            <a:xfrm>
              <a:off x="7038977" y="2435224"/>
              <a:ext cx="58738" cy="39688"/>
            </a:xfrm>
            <a:custGeom>
              <a:avLst/>
              <a:gdLst>
                <a:gd name="T0" fmla="*/ 27 w 77"/>
                <a:gd name="T1" fmla="*/ 5 h 53"/>
                <a:gd name="T2" fmla="*/ 5 w 77"/>
                <a:gd name="T3" fmla="*/ 24 h 53"/>
                <a:gd name="T4" fmla="*/ 0 w 77"/>
                <a:gd name="T5" fmla="*/ 30 h 53"/>
                <a:gd name="T6" fmla="*/ 26 w 77"/>
                <a:gd name="T7" fmla="*/ 53 h 53"/>
                <a:gd name="T8" fmla="*/ 31 w 77"/>
                <a:gd name="T9" fmla="*/ 47 h 53"/>
                <a:gd name="T10" fmla="*/ 43 w 77"/>
                <a:gd name="T11" fmla="*/ 37 h 53"/>
                <a:gd name="T12" fmla="*/ 61 w 77"/>
                <a:gd name="T13" fmla="*/ 39 h 53"/>
                <a:gd name="T14" fmla="*/ 68 w 77"/>
                <a:gd name="T15" fmla="*/ 41 h 53"/>
                <a:gd name="T16" fmla="*/ 77 w 77"/>
                <a:gd name="T17" fmla="*/ 8 h 53"/>
                <a:gd name="T18" fmla="*/ 70 w 77"/>
                <a:gd name="T19" fmla="*/ 6 h 53"/>
                <a:gd name="T20" fmla="*/ 27 w 77"/>
                <a:gd name="T21" fmla="*/ 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" h="53">
                  <a:moveTo>
                    <a:pt x="27" y="5"/>
                  </a:moveTo>
                  <a:cubicBezTo>
                    <a:pt x="20" y="9"/>
                    <a:pt x="12" y="15"/>
                    <a:pt x="5" y="2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35" y="42"/>
                    <a:pt x="40" y="39"/>
                    <a:pt x="43" y="37"/>
                  </a:cubicBezTo>
                  <a:cubicBezTo>
                    <a:pt x="43" y="37"/>
                    <a:pt x="46" y="35"/>
                    <a:pt x="61" y="39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0" y="6"/>
                    <a:pt x="70" y="6"/>
                    <a:pt x="70" y="6"/>
                  </a:cubicBezTo>
                  <a:cubicBezTo>
                    <a:pt x="51" y="0"/>
                    <a:pt x="38" y="0"/>
                    <a:pt x="27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8" name="Freeform 192"/>
            <p:cNvSpPr>
              <a:spLocks/>
            </p:cNvSpPr>
            <p:nvPr/>
          </p:nvSpPr>
          <p:spPr bwMode="black">
            <a:xfrm>
              <a:off x="8348666" y="2689225"/>
              <a:ext cx="36513" cy="55563"/>
            </a:xfrm>
            <a:custGeom>
              <a:avLst/>
              <a:gdLst>
                <a:gd name="T0" fmla="*/ 13 w 49"/>
                <a:gd name="T1" fmla="*/ 7 h 75"/>
                <a:gd name="T2" fmla="*/ 2 w 49"/>
                <a:gd name="T3" fmla="*/ 57 h 75"/>
                <a:gd name="T4" fmla="*/ 0 w 49"/>
                <a:gd name="T5" fmla="*/ 64 h 75"/>
                <a:gd name="T6" fmla="*/ 34 w 49"/>
                <a:gd name="T7" fmla="*/ 75 h 75"/>
                <a:gd name="T8" fmla="*/ 36 w 49"/>
                <a:gd name="T9" fmla="*/ 67 h 75"/>
                <a:gd name="T10" fmla="*/ 48 w 49"/>
                <a:gd name="T11" fmla="*/ 13 h 75"/>
                <a:gd name="T12" fmla="*/ 49 w 49"/>
                <a:gd name="T13" fmla="*/ 5 h 75"/>
                <a:gd name="T14" fmla="*/ 15 w 49"/>
                <a:gd name="T15" fmla="*/ 0 h 75"/>
                <a:gd name="T16" fmla="*/ 13 w 49"/>
                <a:gd name="T17" fmla="*/ 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75">
                  <a:moveTo>
                    <a:pt x="13" y="7"/>
                  </a:moveTo>
                  <a:cubicBezTo>
                    <a:pt x="10" y="26"/>
                    <a:pt x="7" y="43"/>
                    <a:pt x="2" y="57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41" y="52"/>
                    <a:pt x="45" y="34"/>
                    <a:pt x="48" y="13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15" y="0"/>
                    <a:pt x="15" y="0"/>
                    <a:pt x="15" y="0"/>
                  </a:cubicBezTo>
                  <a:lnTo>
                    <a:pt x="13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9" name="Freeform 193"/>
            <p:cNvSpPr>
              <a:spLocks/>
            </p:cNvSpPr>
            <p:nvPr/>
          </p:nvSpPr>
          <p:spPr bwMode="black">
            <a:xfrm>
              <a:off x="8362950" y="2611438"/>
              <a:ext cx="26989" cy="52388"/>
            </a:xfrm>
            <a:custGeom>
              <a:avLst/>
              <a:gdLst>
                <a:gd name="T0" fmla="*/ 2 w 38"/>
                <a:gd name="T1" fmla="*/ 0 h 70"/>
                <a:gd name="T2" fmla="*/ 2 w 38"/>
                <a:gd name="T3" fmla="*/ 8 h 70"/>
                <a:gd name="T4" fmla="*/ 0 w 38"/>
                <a:gd name="T5" fmla="*/ 60 h 70"/>
                <a:gd name="T6" fmla="*/ 0 w 38"/>
                <a:gd name="T7" fmla="*/ 67 h 70"/>
                <a:gd name="T8" fmla="*/ 35 w 38"/>
                <a:gd name="T9" fmla="*/ 70 h 70"/>
                <a:gd name="T10" fmla="*/ 35 w 38"/>
                <a:gd name="T11" fmla="*/ 62 h 70"/>
                <a:gd name="T12" fmla="*/ 38 w 38"/>
                <a:gd name="T13" fmla="*/ 8 h 70"/>
                <a:gd name="T14" fmla="*/ 38 w 38"/>
                <a:gd name="T15" fmla="*/ 0 h 70"/>
                <a:gd name="T16" fmla="*/ 2 w 38"/>
                <a:gd name="T1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70">
                  <a:moveTo>
                    <a:pt x="2" y="0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25"/>
                    <a:pt x="2" y="43"/>
                    <a:pt x="0" y="60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7" y="44"/>
                    <a:pt x="38" y="26"/>
                    <a:pt x="38" y="8"/>
                  </a:cubicBezTo>
                  <a:cubicBezTo>
                    <a:pt x="38" y="0"/>
                    <a:pt x="38" y="0"/>
                    <a:pt x="38" y="0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0" name="Freeform 194"/>
            <p:cNvSpPr>
              <a:spLocks/>
            </p:cNvSpPr>
            <p:nvPr/>
          </p:nvSpPr>
          <p:spPr bwMode="black">
            <a:xfrm>
              <a:off x="7783513" y="3113088"/>
              <a:ext cx="47624" cy="57151"/>
            </a:xfrm>
            <a:custGeom>
              <a:avLst/>
              <a:gdLst>
                <a:gd name="T0" fmla="*/ 32 w 63"/>
                <a:gd name="T1" fmla="*/ 0 h 76"/>
                <a:gd name="T2" fmla="*/ 29 w 63"/>
                <a:gd name="T3" fmla="*/ 7 h 76"/>
                <a:gd name="T4" fmla="*/ 5 w 63"/>
                <a:gd name="T5" fmla="*/ 50 h 76"/>
                <a:gd name="T6" fmla="*/ 0 w 63"/>
                <a:gd name="T7" fmla="*/ 57 h 76"/>
                <a:gd name="T8" fmla="*/ 30 w 63"/>
                <a:gd name="T9" fmla="*/ 76 h 76"/>
                <a:gd name="T10" fmla="*/ 34 w 63"/>
                <a:gd name="T11" fmla="*/ 70 h 76"/>
                <a:gd name="T12" fmla="*/ 60 w 63"/>
                <a:gd name="T13" fmla="*/ 22 h 76"/>
                <a:gd name="T14" fmla="*/ 63 w 63"/>
                <a:gd name="T15" fmla="*/ 16 h 76"/>
                <a:gd name="T16" fmla="*/ 49 w 63"/>
                <a:gd name="T17" fmla="*/ 7 h 76"/>
                <a:gd name="T18" fmla="*/ 32 w 63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76">
                  <a:moveTo>
                    <a:pt x="32" y="0"/>
                  </a:moveTo>
                  <a:cubicBezTo>
                    <a:pt x="29" y="7"/>
                    <a:pt x="29" y="7"/>
                    <a:pt x="29" y="7"/>
                  </a:cubicBezTo>
                  <a:cubicBezTo>
                    <a:pt x="20" y="23"/>
                    <a:pt x="13" y="38"/>
                    <a:pt x="5" y="50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4" y="70"/>
                    <a:pt x="34" y="70"/>
                    <a:pt x="34" y="70"/>
                  </a:cubicBezTo>
                  <a:cubicBezTo>
                    <a:pt x="43" y="56"/>
                    <a:pt x="51" y="40"/>
                    <a:pt x="60" y="22"/>
                  </a:cubicBezTo>
                  <a:cubicBezTo>
                    <a:pt x="63" y="16"/>
                    <a:pt x="63" y="16"/>
                    <a:pt x="63" y="16"/>
                  </a:cubicBezTo>
                  <a:cubicBezTo>
                    <a:pt x="49" y="7"/>
                    <a:pt x="49" y="7"/>
                    <a:pt x="49" y="7"/>
                  </a:cubicBezTo>
                  <a:lnTo>
                    <a:pt x="3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1" name="Freeform 195"/>
            <p:cNvSpPr>
              <a:spLocks/>
            </p:cNvSpPr>
            <p:nvPr/>
          </p:nvSpPr>
          <p:spPr bwMode="black">
            <a:xfrm>
              <a:off x="8229601" y="2798762"/>
              <a:ext cx="57151" cy="49212"/>
            </a:xfrm>
            <a:custGeom>
              <a:avLst/>
              <a:gdLst>
                <a:gd name="T0" fmla="*/ 52 w 76"/>
                <a:gd name="T1" fmla="*/ 3 h 65"/>
                <a:gd name="T2" fmla="*/ 6 w 76"/>
                <a:gd name="T3" fmla="*/ 31 h 65"/>
                <a:gd name="T4" fmla="*/ 0 w 76"/>
                <a:gd name="T5" fmla="*/ 35 h 65"/>
                <a:gd name="T6" fmla="*/ 17 w 76"/>
                <a:gd name="T7" fmla="*/ 65 h 65"/>
                <a:gd name="T8" fmla="*/ 24 w 76"/>
                <a:gd name="T9" fmla="*/ 61 h 65"/>
                <a:gd name="T10" fmla="*/ 70 w 76"/>
                <a:gd name="T11" fmla="*/ 33 h 65"/>
                <a:gd name="T12" fmla="*/ 76 w 76"/>
                <a:gd name="T13" fmla="*/ 30 h 65"/>
                <a:gd name="T14" fmla="*/ 58 w 76"/>
                <a:gd name="T15" fmla="*/ 0 h 65"/>
                <a:gd name="T16" fmla="*/ 52 w 76"/>
                <a:gd name="T17" fmla="*/ 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65">
                  <a:moveTo>
                    <a:pt x="52" y="3"/>
                  </a:moveTo>
                  <a:cubicBezTo>
                    <a:pt x="38" y="12"/>
                    <a:pt x="22" y="21"/>
                    <a:pt x="6" y="31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41" y="51"/>
                    <a:pt x="56" y="42"/>
                    <a:pt x="70" y="33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58" y="0"/>
                    <a:pt x="58" y="0"/>
                    <a:pt x="58" y="0"/>
                  </a:cubicBezTo>
                  <a:lnTo>
                    <a:pt x="52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2" name="Freeform 196"/>
            <p:cNvSpPr>
              <a:spLocks/>
            </p:cNvSpPr>
            <p:nvPr/>
          </p:nvSpPr>
          <p:spPr bwMode="black">
            <a:xfrm>
              <a:off x="8297860" y="2754313"/>
              <a:ext cx="57151" cy="50800"/>
            </a:xfrm>
            <a:custGeom>
              <a:avLst/>
              <a:gdLst>
                <a:gd name="T0" fmla="*/ 49 w 77"/>
                <a:gd name="T1" fmla="*/ 5 h 68"/>
                <a:gd name="T2" fmla="*/ 7 w 77"/>
                <a:gd name="T3" fmla="*/ 34 h 68"/>
                <a:gd name="T4" fmla="*/ 0 w 77"/>
                <a:gd name="T5" fmla="*/ 39 h 68"/>
                <a:gd name="T6" fmla="*/ 19 w 77"/>
                <a:gd name="T7" fmla="*/ 68 h 68"/>
                <a:gd name="T8" fmla="*/ 26 w 77"/>
                <a:gd name="T9" fmla="*/ 64 h 68"/>
                <a:gd name="T10" fmla="*/ 71 w 77"/>
                <a:gd name="T11" fmla="*/ 33 h 68"/>
                <a:gd name="T12" fmla="*/ 77 w 77"/>
                <a:gd name="T13" fmla="*/ 28 h 68"/>
                <a:gd name="T14" fmla="*/ 55 w 77"/>
                <a:gd name="T15" fmla="*/ 0 h 68"/>
                <a:gd name="T16" fmla="*/ 49 w 77"/>
                <a:gd name="T17" fmla="*/ 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68">
                  <a:moveTo>
                    <a:pt x="49" y="5"/>
                  </a:moveTo>
                  <a:cubicBezTo>
                    <a:pt x="40" y="12"/>
                    <a:pt x="26" y="22"/>
                    <a:pt x="7" y="3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26" y="64"/>
                    <a:pt x="26" y="64"/>
                    <a:pt x="26" y="64"/>
                  </a:cubicBezTo>
                  <a:cubicBezTo>
                    <a:pt x="46" y="51"/>
                    <a:pt x="61" y="41"/>
                    <a:pt x="71" y="33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55" y="0"/>
                    <a:pt x="55" y="0"/>
                    <a:pt x="55" y="0"/>
                  </a:cubicBezTo>
                  <a:lnTo>
                    <a:pt x="49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3" name="Freeform 197"/>
            <p:cNvSpPr>
              <a:spLocks/>
            </p:cNvSpPr>
            <p:nvPr/>
          </p:nvSpPr>
          <p:spPr bwMode="black">
            <a:xfrm>
              <a:off x="7313610" y="2935288"/>
              <a:ext cx="57151" cy="49212"/>
            </a:xfrm>
            <a:custGeom>
              <a:avLst/>
              <a:gdLst>
                <a:gd name="T0" fmla="*/ 24 w 77"/>
                <a:gd name="T1" fmla="*/ 4 h 65"/>
                <a:gd name="T2" fmla="*/ 18 w 77"/>
                <a:gd name="T3" fmla="*/ 0 h 65"/>
                <a:gd name="T4" fmla="*/ 0 w 77"/>
                <a:gd name="T5" fmla="*/ 30 h 65"/>
                <a:gd name="T6" fmla="*/ 7 w 77"/>
                <a:gd name="T7" fmla="*/ 34 h 65"/>
                <a:gd name="T8" fmla="*/ 53 w 77"/>
                <a:gd name="T9" fmla="*/ 61 h 65"/>
                <a:gd name="T10" fmla="*/ 59 w 77"/>
                <a:gd name="T11" fmla="*/ 65 h 65"/>
                <a:gd name="T12" fmla="*/ 77 w 77"/>
                <a:gd name="T13" fmla="*/ 34 h 65"/>
                <a:gd name="T14" fmla="*/ 71 w 77"/>
                <a:gd name="T15" fmla="*/ 31 h 65"/>
                <a:gd name="T16" fmla="*/ 24 w 77"/>
                <a:gd name="T17" fmla="*/ 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65">
                  <a:moveTo>
                    <a:pt x="24" y="4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22" y="43"/>
                    <a:pt x="37" y="52"/>
                    <a:pt x="53" y="61"/>
                  </a:cubicBezTo>
                  <a:cubicBezTo>
                    <a:pt x="59" y="65"/>
                    <a:pt x="59" y="65"/>
                    <a:pt x="59" y="65"/>
                  </a:cubicBezTo>
                  <a:cubicBezTo>
                    <a:pt x="77" y="34"/>
                    <a:pt x="77" y="34"/>
                    <a:pt x="77" y="34"/>
                  </a:cubicBezTo>
                  <a:cubicBezTo>
                    <a:pt x="71" y="31"/>
                    <a:pt x="71" y="31"/>
                    <a:pt x="71" y="31"/>
                  </a:cubicBezTo>
                  <a:cubicBezTo>
                    <a:pt x="55" y="22"/>
                    <a:pt x="40" y="13"/>
                    <a:pt x="2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4" name="Freeform 198"/>
            <p:cNvSpPr>
              <a:spLocks/>
            </p:cNvSpPr>
            <p:nvPr/>
          </p:nvSpPr>
          <p:spPr bwMode="black">
            <a:xfrm>
              <a:off x="7381872" y="2974974"/>
              <a:ext cx="57151" cy="49212"/>
            </a:xfrm>
            <a:custGeom>
              <a:avLst/>
              <a:gdLst>
                <a:gd name="T0" fmla="*/ 0 w 36"/>
                <a:gd name="T1" fmla="*/ 15 h 31"/>
                <a:gd name="T2" fmla="*/ 28 w 36"/>
                <a:gd name="T3" fmla="*/ 31 h 31"/>
                <a:gd name="T4" fmla="*/ 36 w 36"/>
                <a:gd name="T5" fmla="*/ 17 h 31"/>
                <a:gd name="T6" fmla="*/ 8 w 36"/>
                <a:gd name="T7" fmla="*/ 0 h 31"/>
                <a:gd name="T8" fmla="*/ 0 w 36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1">
                  <a:moveTo>
                    <a:pt x="0" y="15"/>
                  </a:moveTo>
                  <a:lnTo>
                    <a:pt x="28" y="31"/>
                  </a:lnTo>
                  <a:lnTo>
                    <a:pt x="36" y="17"/>
                  </a:lnTo>
                  <a:lnTo>
                    <a:pt x="8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5" name="Freeform 199"/>
            <p:cNvSpPr>
              <a:spLocks/>
            </p:cNvSpPr>
            <p:nvPr/>
          </p:nvSpPr>
          <p:spPr bwMode="black">
            <a:xfrm>
              <a:off x="7243759" y="2895598"/>
              <a:ext cx="58738" cy="47624"/>
            </a:xfrm>
            <a:custGeom>
              <a:avLst/>
              <a:gdLst>
                <a:gd name="T0" fmla="*/ 24 w 77"/>
                <a:gd name="T1" fmla="*/ 4 h 64"/>
                <a:gd name="T2" fmla="*/ 17 w 77"/>
                <a:gd name="T3" fmla="*/ 0 h 64"/>
                <a:gd name="T4" fmla="*/ 0 w 77"/>
                <a:gd name="T5" fmla="*/ 31 h 64"/>
                <a:gd name="T6" fmla="*/ 6 w 77"/>
                <a:gd name="T7" fmla="*/ 34 h 64"/>
                <a:gd name="T8" fmla="*/ 53 w 77"/>
                <a:gd name="T9" fmla="*/ 61 h 64"/>
                <a:gd name="T10" fmla="*/ 59 w 77"/>
                <a:gd name="T11" fmla="*/ 64 h 64"/>
                <a:gd name="T12" fmla="*/ 77 w 77"/>
                <a:gd name="T13" fmla="*/ 34 h 64"/>
                <a:gd name="T14" fmla="*/ 70 w 77"/>
                <a:gd name="T15" fmla="*/ 30 h 64"/>
                <a:gd name="T16" fmla="*/ 24 w 77"/>
                <a:gd name="T17" fmla="*/ 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64">
                  <a:moveTo>
                    <a:pt x="24" y="4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21" y="42"/>
                    <a:pt x="36" y="51"/>
                    <a:pt x="53" y="61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77" y="34"/>
                    <a:pt x="77" y="34"/>
                    <a:pt x="77" y="34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53" y="20"/>
                    <a:pt x="38" y="12"/>
                    <a:pt x="2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6" name="Freeform 200"/>
            <p:cNvSpPr>
              <a:spLocks/>
            </p:cNvSpPr>
            <p:nvPr/>
          </p:nvSpPr>
          <p:spPr bwMode="black">
            <a:xfrm>
              <a:off x="7173909" y="2857498"/>
              <a:ext cx="57151" cy="47624"/>
            </a:xfrm>
            <a:custGeom>
              <a:avLst/>
              <a:gdLst>
                <a:gd name="T0" fmla="*/ 23 w 77"/>
                <a:gd name="T1" fmla="*/ 3 h 63"/>
                <a:gd name="T2" fmla="*/ 16 w 77"/>
                <a:gd name="T3" fmla="*/ 0 h 63"/>
                <a:gd name="T4" fmla="*/ 0 w 77"/>
                <a:gd name="T5" fmla="*/ 31 h 63"/>
                <a:gd name="T6" fmla="*/ 7 w 77"/>
                <a:gd name="T7" fmla="*/ 35 h 63"/>
                <a:gd name="T8" fmla="*/ 54 w 77"/>
                <a:gd name="T9" fmla="*/ 59 h 63"/>
                <a:gd name="T10" fmla="*/ 60 w 77"/>
                <a:gd name="T11" fmla="*/ 63 h 63"/>
                <a:gd name="T12" fmla="*/ 77 w 77"/>
                <a:gd name="T13" fmla="*/ 32 h 63"/>
                <a:gd name="T14" fmla="*/ 71 w 77"/>
                <a:gd name="T15" fmla="*/ 29 h 63"/>
                <a:gd name="T16" fmla="*/ 23 w 77"/>
                <a:gd name="T17" fmla="*/ 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63">
                  <a:moveTo>
                    <a:pt x="23" y="3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20" y="41"/>
                    <a:pt x="36" y="50"/>
                    <a:pt x="54" y="59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52" y="18"/>
                    <a:pt x="36" y="10"/>
                    <a:pt x="2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7" name="Freeform 201"/>
            <p:cNvSpPr>
              <a:spLocks/>
            </p:cNvSpPr>
            <p:nvPr/>
          </p:nvSpPr>
          <p:spPr bwMode="black">
            <a:xfrm>
              <a:off x="7099298" y="2835274"/>
              <a:ext cx="57151" cy="34924"/>
            </a:xfrm>
            <a:custGeom>
              <a:avLst/>
              <a:gdLst>
                <a:gd name="T0" fmla="*/ 60 w 76"/>
                <a:gd name="T1" fmla="*/ 10 h 47"/>
                <a:gd name="T2" fmla="*/ 58 w 76"/>
                <a:gd name="T3" fmla="*/ 10 h 47"/>
                <a:gd name="T4" fmla="*/ 18 w 76"/>
                <a:gd name="T5" fmla="*/ 2 h 47"/>
                <a:gd name="T6" fmla="*/ 11 w 76"/>
                <a:gd name="T7" fmla="*/ 0 h 47"/>
                <a:gd name="T8" fmla="*/ 0 w 76"/>
                <a:gd name="T9" fmla="*/ 33 h 47"/>
                <a:gd name="T10" fmla="*/ 7 w 76"/>
                <a:gd name="T11" fmla="*/ 35 h 47"/>
                <a:gd name="T12" fmla="*/ 55 w 76"/>
                <a:gd name="T13" fmla="*/ 45 h 47"/>
                <a:gd name="T14" fmla="*/ 60 w 76"/>
                <a:gd name="T15" fmla="*/ 45 h 47"/>
                <a:gd name="T16" fmla="*/ 61 w 76"/>
                <a:gd name="T17" fmla="*/ 45 h 47"/>
                <a:gd name="T18" fmla="*/ 68 w 76"/>
                <a:gd name="T19" fmla="*/ 47 h 47"/>
                <a:gd name="T20" fmla="*/ 76 w 76"/>
                <a:gd name="T21" fmla="*/ 13 h 47"/>
                <a:gd name="T22" fmla="*/ 69 w 76"/>
                <a:gd name="T23" fmla="*/ 11 h 47"/>
                <a:gd name="T24" fmla="*/ 60 w 76"/>
                <a:gd name="T25" fmla="*/ 1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47">
                  <a:moveTo>
                    <a:pt x="60" y="10"/>
                  </a:moveTo>
                  <a:cubicBezTo>
                    <a:pt x="58" y="10"/>
                    <a:pt x="58" y="10"/>
                    <a:pt x="58" y="10"/>
                  </a:cubicBezTo>
                  <a:cubicBezTo>
                    <a:pt x="49" y="11"/>
                    <a:pt x="35" y="8"/>
                    <a:pt x="18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20" y="40"/>
                    <a:pt x="39" y="45"/>
                    <a:pt x="55" y="45"/>
                  </a:cubicBezTo>
                  <a:cubicBezTo>
                    <a:pt x="57" y="45"/>
                    <a:pt x="59" y="45"/>
                    <a:pt x="60" y="45"/>
                  </a:cubicBezTo>
                  <a:cubicBezTo>
                    <a:pt x="60" y="45"/>
                    <a:pt x="61" y="45"/>
                    <a:pt x="61" y="45"/>
                  </a:cubicBezTo>
                  <a:cubicBezTo>
                    <a:pt x="68" y="47"/>
                    <a:pt x="68" y="47"/>
                    <a:pt x="68" y="47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6" y="10"/>
                    <a:pt x="63" y="10"/>
                    <a:pt x="60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8" name="Freeform 202"/>
            <p:cNvSpPr>
              <a:spLocks/>
            </p:cNvSpPr>
            <p:nvPr/>
          </p:nvSpPr>
          <p:spPr bwMode="black">
            <a:xfrm>
              <a:off x="7721598" y="3168649"/>
              <a:ext cx="55563" cy="30163"/>
            </a:xfrm>
            <a:custGeom>
              <a:avLst/>
              <a:gdLst>
                <a:gd name="T0" fmla="*/ 57 w 74"/>
                <a:gd name="T1" fmla="*/ 3 h 40"/>
                <a:gd name="T2" fmla="*/ 53 w 74"/>
                <a:gd name="T3" fmla="*/ 4 h 40"/>
                <a:gd name="T4" fmla="*/ 11 w 74"/>
                <a:gd name="T5" fmla="*/ 4 h 40"/>
                <a:gd name="T6" fmla="*/ 3 w 74"/>
                <a:gd name="T7" fmla="*/ 3 h 40"/>
                <a:gd name="T8" fmla="*/ 0 w 74"/>
                <a:gd name="T9" fmla="*/ 38 h 40"/>
                <a:gd name="T10" fmla="*/ 7 w 74"/>
                <a:gd name="T11" fmla="*/ 39 h 40"/>
                <a:gd name="T12" fmla="*/ 32 w 74"/>
                <a:gd name="T13" fmla="*/ 40 h 40"/>
                <a:gd name="T14" fmla="*/ 60 w 74"/>
                <a:gd name="T15" fmla="*/ 38 h 40"/>
                <a:gd name="T16" fmla="*/ 67 w 74"/>
                <a:gd name="T17" fmla="*/ 36 h 40"/>
                <a:gd name="T18" fmla="*/ 74 w 74"/>
                <a:gd name="T19" fmla="*/ 34 h 40"/>
                <a:gd name="T20" fmla="*/ 64 w 74"/>
                <a:gd name="T21" fmla="*/ 0 h 40"/>
                <a:gd name="T22" fmla="*/ 57 w 74"/>
                <a:gd name="T23" fmla="*/ 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0">
                  <a:moveTo>
                    <a:pt x="57" y="3"/>
                  </a:moveTo>
                  <a:cubicBezTo>
                    <a:pt x="56" y="3"/>
                    <a:pt x="55" y="3"/>
                    <a:pt x="53" y="4"/>
                  </a:cubicBezTo>
                  <a:cubicBezTo>
                    <a:pt x="43" y="5"/>
                    <a:pt x="28" y="6"/>
                    <a:pt x="11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6" y="40"/>
                    <a:pt x="25" y="40"/>
                    <a:pt x="32" y="40"/>
                  </a:cubicBezTo>
                  <a:cubicBezTo>
                    <a:pt x="43" y="40"/>
                    <a:pt x="52" y="40"/>
                    <a:pt x="60" y="38"/>
                  </a:cubicBezTo>
                  <a:cubicBezTo>
                    <a:pt x="62" y="38"/>
                    <a:pt x="65" y="37"/>
                    <a:pt x="67" y="36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64" y="0"/>
                    <a:pt x="64" y="0"/>
                    <a:pt x="64" y="0"/>
                  </a:cubicBezTo>
                  <a:lnTo>
                    <a:pt x="57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9" name="Freeform 203"/>
            <p:cNvSpPr>
              <a:spLocks/>
            </p:cNvSpPr>
            <p:nvPr/>
          </p:nvSpPr>
          <p:spPr bwMode="black">
            <a:xfrm>
              <a:off x="7583487" y="3100388"/>
              <a:ext cx="49214" cy="58739"/>
            </a:xfrm>
            <a:custGeom>
              <a:avLst/>
              <a:gdLst>
                <a:gd name="T0" fmla="*/ 49 w 64"/>
                <a:gd name="T1" fmla="*/ 34 h 78"/>
                <a:gd name="T2" fmla="*/ 49 w 64"/>
                <a:gd name="T3" fmla="*/ 33 h 78"/>
                <a:gd name="T4" fmla="*/ 33 w 64"/>
                <a:gd name="T5" fmla="*/ 6 h 78"/>
                <a:gd name="T6" fmla="*/ 29 w 64"/>
                <a:gd name="T7" fmla="*/ 0 h 78"/>
                <a:gd name="T8" fmla="*/ 0 w 64"/>
                <a:gd name="T9" fmla="*/ 19 h 78"/>
                <a:gd name="T10" fmla="*/ 4 w 64"/>
                <a:gd name="T11" fmla="*/ 26 h 78"/>
                <a:gd name="T12" fmla="*/ 18 w 64"/>
                <a:gd name="T13" fmla="*/ 50 h 78"/>
                <a:gd name="T14" fmla="*/ 31 w 64"/>
                <a:gd name="T15" fmla="*/ 72 h 78"/>
                <a:gd name="T16" fmla="*/ 35 w 64"/>
                <a:gd name="T17" fmla="*/ 78 h 78"/>
                <a:gd name="T18" fmla="*/ 64 w 64"/>
                <a:gd name="T19" fmla="*/ 59 h 78"/>
                <a:gd name="T20" fmla="*/ 60 w 64"/>
                <a:gd name="T21" fmla="*/ 52 h 78"/>
                <a:gd name="T22" fmla="*/ 49 w 64"/>
                <a:gd name="T23" fmla="*/ 3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78">
                  <a:moveTo>
                    <a:pt x="49" y="34"/>
                  </a:moveTo>
                  <a:cubicBezTo>
                    <a:pt x="49" y="33"/>
                    <a:pt x="49" y="33"/>
                    <a:pt x="49" y="33"/>
                  </a:cubicBezTo>
                  <a:cubicBezTo>
                    <a:pt x="44" y="25"/>
                    <a:pt x="39" y="15"/>
                    <a:pt x="33" y="6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9" y="34"/>
                    <a:pt x="14" y="43"/>
                    <a:pt x="18" y="50"/>
                  </a:cubicBezTo>
                  <a:cubicBezTo>
                    <a:pt x="22" y="58"/>
                    <a:pt x="27" y="65"/>
                    <a:pt x="31" y="72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57" y="47"/>
                    <a:pt x="53" y="41"/>
                    <a:pt x="49" y="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50" name="Freeform 204"/>
            <p:cNvSpPr>
              <a:spLocks/>
            </p:cNvSpPr>
            <p:nvPr/>
          </p:nvSpPr>
          <p:spPr bwMode="black">
            <a:xfrm>
              <a:off x="7521572" y="3054349"/>
              <a:ext cx="55563" cy="47624"/>
            </a:xfrm>
            <a:custGeom>
              <a:avLst/>
              <a:gdLst>
                <a:gd name="T0" fmla="*/ 23 w 75"/>
                <a:gd name="T1" fmla="*/ 4 h 62"/>
                <a:gd name="T2" fmla="*/ 17 w 75"/>
                <a:gd name="T3" fmla="*/ 0 h 62"/>
                <a:gd name="T4" fmla="*/ 0 w 75"/>
                <a:gd name="T5" fmla="*/ 31 h 62"/>
                <a:gd name="T6" fmla="*/ 6 w 75"/>
                <a:gd name="T7" fmla="*/ 35 h 62"/>
                <a:gd name="T8" fmla="*/ 57 w 75"/>
                <a:gd name="T9" fmla="*/ 59 h 62"/>
                <a:gd name="T10" fmla="*/ 66 w 75"/>
                <a:gd name="T11" fmla="*/ 62 h 62"/>
                <a:gd name="T12" fmla="*/ 75 w 75"/>
                <a:gd name="T13" fmla="*/ 28 h 62"/>
                <a:gd name="T14" fmla="*/ 66 w 75"/>
                <a:gd name="T15" fmla="*/ 25 h 62"/>
                <a:gd name="T16" fmla="*/ 23 w 75"/>
                <a:gd name="T17" fmla="*/ 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62">
                  <a:moveTo>
                    <a:pt x="23" y="4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2" y="54"/>
                    <a:pt x="52" y="58"/>
                    <a:pt x="57" y="59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66" y="25"/>
                    <a:pt x="66" y="25"/>
                    <a:pt x="66" y="25"/>
                  </a:cubicBezTo>
                  <a:cubicBezTo>
                    <a:pt x="65" y="25"/>
                    <a:pt x="58" y="23"/>
                    <a:pt x="23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51" name="Freeform 205"/>
            <p:cNvSpPr>
              <a:spLocks/>
            </p:cNvSpPr>
            <p:nvPr/>
          </p:nvSpPr>
          <p:spPr bwMode="black">
            <a:xfrm>
              <a:off x="7640636" y="3154361"/>
              <a:ext cx="57151" cy="38100"/>
            </a:xfrm>
            <a:custGeom>
              <a:avLst/>
              <a:gdLst>
                <a:gd name="T0" fmla="*/ 19 w 76"/>
                <a:gd name="T1" fmla="*/ 3 h 52"/>
                <a:gd name="T2" fmla="*/ 12 w 76"/>
                <a:gd name="T3" fmla="*/ 0 h 52"/>
                <a:gd name="T4" fmla="*/ 0 w 76"/>
                <a:gd name="T5" fmla="*/ 33 h 52"/>
                <a:gd name="T6" fmla="*/ 7 w 76"/>
                <a:gd name="T7" fmla="*/ 36 h 52"/>
                <a:gd name="T8" fmla="*/ 61 w 76"/>
                <a:gd name="T9" fmla="*/ 51 h 52"/>
                <a:gd name="T10" fmla="*/ 68 w 76"/>
                <a:gd name="T11" fmla="*/ 52 h 52"/>
                <a:gd name="T12" fmla="*/ 76 w 76"/>
                <a:gd name="T13" fmla="*/ 18 h 52"/>
                <a:gd name="T14" fmla="*/ 68 w 76"/>
                <a:gd name="T15" fmla="*/ 16 h 52"/>
                <a:gd name="T16" fmla="*/ 19 w 76"/>
                <a:gd name="T17" fmla="*/ 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52">
                  <a:moveTo>
                    <a:pt x="19" y="3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23" y="41"/>
                    <a:pt x="41" y="46"/>
                    <a:pt x="61" y="51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76" y="18"/>
                    <a:pt x="76" y="18"/>
                    <a:pt x="76" y="18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50" y="12"/>
                    <a:pt x="33" y="8"/>
                    <a:pt x="1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52" name="Freeform 206"/>
            <p:cNvSpPr>
              <a:spLocks/>
            </p:cNvSpPr>
            <p:nvPr/>
          </p:nvSpPr>
          <p:spPr bwMode="black">
            <a:xfrm>
              <a:off x="7451723" y="3016249"/>
              <a:ext cx="57151" cy="47624"/>
            </a:xfrm>
            <a:custGeom>
              <a:avLst/>
              <a:gdLst>
                <a:gd name="T0" fmla="*/ 24 w 77"/>
                <a:gd name="T1" fmla="*/ 3 h 64"/>
                <a:gd name="T2" fmla="*/ 17 w 77"/>
                <a:gd name="T3" fmla="*/ 0 h 64"/>
                <a:gd name="T4" fmla="*/ 0 w 77"/>
                <a:gd name="T5" fmla="*/ 30 h 64"/>
                <a:gd name="T6" fmla="*/ 6 w 77"/>
                <a:gd name="T7" fmla="*/ 34 h 64"/>
                <a:gd name="T8" fmla="*/ 53 w 77"/>
                <a:gd name="T9" fmla="*/ 61 h 64"/>
                <a:gd name="T10" fmla="*/ 59 w 77"/>
                <a:gd name="T11" fmla="*/ 64 h 64"/>
                <a:gd name="T12" fmla="*/ 77 w 77"/>
                <a:gd name="T13" fmla="*/ 34 h 64"/>
                <a:gd name="T14" fmla="*/ 70 w 77"/>
                <a:gd name="T15" fmla="*/ 30 h 64"/>
                <a:gd name="T16" fmla="*/ 24 w 77"/>
                <a:gd name="T17" fmla="*/ 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64">
                  <a:moveTo>
                    <a:pt x="24" y="3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23" y="43"/>
                    <a:pt x="38" y="52"/>
                    <a:pt x="53" y="61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77" y="34"/>
                    <a:pt x="77" y="34"/>
                    <a:pt x="77" y="34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56" y="22"/>
                    <a:pt x="41" y="13"/>
                    <a:pt x="24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53" name="Freeform 207"/>
            <p:cNvSpPr>
              <a:spLocks noEditPoints="1"/>
            </p:cNvSpPr>
            <p:nvPr/>
          </p:nvSpPr>
          <p:spPr bwMode="black">
            <a:xfrm>
              <a:off x="7091582" y="2222526"/>
              <a:ext cx="1198562" cy="892174"/>
            </a:xfrm>
            <a:custGeom>
              <a:avLst/>
              <a:gdLst>
                <a:gd name="T0" fmla="*/ 1583 w 1601"/>
                <a:gd name="T1" fmla="*/ 409 h 1191"/>
                <a:gd name="T2" fmla="*/ 891 w 1601"/>
                <a:gd name="T3" fmla="*/ 6 h 1191"/>
                <a:gd name="T4" fmla="*/ 841 w 1601"/>
                <a:gd name="T5" fmla="*/ 6 h 1191"/>
                <a:gd name="T6" fmla="*/ 861 w 1601"/>
                <a:gd name="T7" fmla="*/ 834 h 1191"/>
                <a:gd name="T8" fmla="*/ 596 w 1601"/>
                <a:gd name="T9" fmla="*/ 987 h 1191"/>
                <a:gd name="T10" fmla="*/ 148 w 1601"/>
                <a:gd name="T11" fmla="*/ 797 h 1191"/>
                <a:gd name="T12" fmla="*/ 200 w 1601"/>
                <a:gd name="T13" fmla="*/ 762 h 1191"/>
                <a:gd name="T14" fmla="*/ 886 w 1601"/>
                <a:gd name="T15" fmla="*/ 1163 h 1191"/>
                <a:gd name="T16" fmla="*/ 853 w 1601"/>
                <a:gd name="T17" fmla="*/ 1191 h 1191"/>
                <a:gd name="T18" fmla="*/ 677 w 1601"/>
                <a:gd name="T19" fmla="*/ 1097 h 1191"/>
                <a:gd name="T20" fmla="*/ 730 w 1601"/>
                <a:gd name="T21" fmla="*/ 1062 h 1191"/>
                <a:gd name="T22" fmla="*/ 831 w 1601"/>
                <a:gd name="T23" fmla="*/ 926 h 1191"/>
                <a:gd name="T24" fmla="*/ 56 w 1601"/>
                <a:gd name="T25" fmla="*/ 679 h 1191"/>
                <a:gd name="T26" fmla="*/ 66 w 1601"/>
                <a:gd name="T27" fmla="*/ 687 h 1191"/>
                <a:gd name="T28" fmla="*/ 27 w 1601"/>
                <a:gd name="T29" fmla="*/ 728 h 1191"/>
                <a:gd name="T30" fmla="*/ 0 w 1601"/>
                <a:gd name="T31" fmla="*/ 691 h 1191"/>
                <a:gd name="T32" fmla="*/ 17 w 1601"/>
                <a:gd name="T33" fmla="*/ 416 h 1191"/>
                <a:gd name="T34" fmla="*/ 96 w 1601"/>
                <a:gd name="T35" fmla="*/ 442 h 1191"/>
                <a:gd name="T36" fmla="*/ 877 w 1601"/>
                <a:gd name="T37" fmla="*/ 881 h 1191"/>
                <a:gd name="T38" fmla="*/ 1600 w 1601"/>
                <a:gd name="T39" fmla="*/ 438 h 1191"/>
                <a:gd name="T40" fmla="*/ 1601 w 1601"/>
                <a:gd name="T41" fmla="*/ 669 h 1191"/>
                <a:gd name="T42" fmla="*/ 919 w 1601"/>
                <a:gd name="T43" fmla="*/ 1087 h 1191"/>
                <a:gd name="T44" fmla="*/ 894 w 1601"/>
                <a:gd name="T45" fmla="*/ 853 h 1191"/>
                <a:gd name="T46" fmla="*/ 525 w 1601"/>
                <a:gd name="T47" fmla="*/ 886 h 1191"/>
                <a:gd name="T48" fmla="*/ 316 w 1601"/>
                <a:gd name="T49" fmla="*/ 770 h 1191"/>
                <a:gd name="T50" fmla="*/ 300 w 1601"/>
                <a:gd name="T51" fmla="*/ 721 h 1191"/>
                <a:gd name="T52" fmla="*/ 523 w 1601"/>
                <a:gd name="T53" fmla="*/ 822 h 1191"/>
                <a:gd name="T54" fmla="*/ 539 w 1601"/>
                <a:gd name="T55" fmla="*/ 870 h 1191"/>
                <a:gd name="T56" fmla="*/ 712 w 1601"/>
                <a:gd name="T57" fmla="*/ 1033 h 1191"/>
                <a:gd name="T58" fmla="*/ 648 w 1601"/>
                <a:gd name="T59" fmla="*/ 1091 h 1191"/>
                <a:gd name="T60" fmla="*/ 617 w 1601"/>
                <a:gd name="T61" fmla="*/ 1070 h 1191"/>
                <a:gd name="T62" fmla="*/ 625 w 1601"/>
                <a:gd name="T63" fmla="*/ 914 h 1191"/>
                <a:gd name="T64" fmla="*/ 712 w 1601"/>
                <a:gd name="T65" fmla="*/ 885 h 1191"/>
                <a:gd name="T66" fmla="*/ 708 w 1601"/>
                <a:gd name="T67" fmla="*/ 909 h 1191"/>
                <a:gd name="T68" fmla="*/ 659 w 1601"/>
                <a:gd name="T69" fmla="*/ 1044 h 1191"/>
                <a:gd name="T70" fmla="*/ 712 w 1601"/>
                <a:gd name="T71" fmla="*/ 1033 h 1191"/>
                <a:gd name="T72" fmla="*/ 177 w 1601"/>
                <a:gd name="T73" fmla="*/ 756 h 1191"/>
                <a:gd name="T74" fmla="*/ 92 w 1601"/>
                <a:gd name="T75" fmla="*/ 786 h 1191"/>
                <a:gd name="T76" fmla="*/ 86 w 1601"/>
                <a:gd name="T77" fmla="*/ 632 h 1191"/>
                <a:gd name="T78" fmla="*/ 154 w 1601"/>
                <a:gd name="T79" fmla="*/ 580 h 1191"/>
                <a:gd name="T80" fmla="*/ 181 w 1601"/>
                <a:gd name="T81" fmla="*/ 585 h 1191"/>
                <a:gd name="T82" fmla="*/ 129 w 1601"/>
                <a:gd name="T83" fmla="*/ 637 h 1191"/>
                <a:gd name="T84" fmla="*/ 154 w 1601"/>
                <a:gd name="T85" fmla="*/ 729 h 1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01" h="1191">
                  <a:moveTo>
                    <a:pt x="861" y="834"/>
                  </a:moveTo>
                  <a:cubicBezTo>
                    <a:pt x="1583" y="409"/>
                    <a:pt x="1583" y="409"/>
                    <a:pt x="1583" y="409"/>
                  </a:cubicBezTo>
                  <a:cubicBezTo>
                    <a:pt x="1581" y="407"/>
                    <a:pt x="1579" y="406"/>
                    <a:pt x="1576" y="404"/>
                  </a:cubicBezTo>
                  <a:cubicBezTo>
                    <a:pt x="891" y="6"/>
                    <a:pt x="891" y="6"/>
                    <a:pt x="891" y="6"/>
                  </a:cubicBezTo>
                  <a:cubicBezTo>
                    <a:pt x="884" y="2"/>
                    <a:pt x="875" y="0"/>
                    <a:pt x="866" y="0"/>
                  </a:cubicBezTo>
                  <a:cubicBezTo>
                    <a:pt x="857" y="0"/>
                    <a:pt x="848" y="2"/>
                    <a:pt x="841" y="6"/>
                  </a:cubicBezTo>
                  <a:cubicBezTo>
                    <a:pt x="130" y="422"/>
                    <a:pt x="130" y="422"/>
                    <a:pt x="130" y="422"/>
                  </a:cubicBezTo>
                  <a:lnTo>
                    <a:pt x="861" y="834"/>
                  </a:lnTo>
                  <a:close/>
                  <a:moveTo>
                    <a:pt x="200" y="762"/>
                  </a:moveTo>
                  <a:cubicBezTo>
                    <a:pt x="596" y="987"/>
                    <a:pt x="596" y="987"/>
                    <a:pt x="596" y="987"/>
                  </a:cubicBezTo>
                  <a:cubicBezTo>
                    <a:pt x="596" y="1051"/>
                    <a:pt x="596" y="1051"/>
                    <a:pt x="596" y="1051"/>
                  </a:cubicBezTo>
                  <a:cubicBezTo>
                    <a:pt x="148" y="797"/>
                    <a:pt x="148" y="797"/>
                    <a:pt x="148" y="797"/>
                  </a:cubicBezTo>
                  <a:cubicBezTo>
                    <a:pt x="188" y="773"/>
                    <a:pt x="188" y="773"/>
                    <a:pt x="188" y="773"/>
                  </a:cubicBezTo>
                  <a:cubicBezTo>
                    <a:pt x="192" y="771"/>
                    <a:pt x="197" y="767"/>
                    <a:pt x="200" y="762"/>
                  </a:cubicBezTo>
                  <a:close/>
                  <a:moveTo>
                    <a:pt x="886" y="897"/>
                  </a:moveTo>
                  <a:cubicBezTo>
                    <a:pt x="886" y="1163"/>
                    <a:pt x="886" y="1163"/>
                    <a:pt x="886" y="1163"/>
                  </a:cubicBezTo>
                  <a:cubicBezTo>
                    <a:pt x="884" y="1173"/>
                    <a:pt x="878" y="1182"/>
                    <a:pt x="870" y="1187"/>
                  </a:cubicBezTo>
                  <a:cubicBezTo>
                    <a:pt x="865" y="1190"/>
                    <a:pt x="859" y="1191"/>
                    <a:pt x="853" y="1191"/>
                  </a:cubicBezTo>
                  <a:cubicBezTo>
                    <a:pt x="847" y="1191"/>
                    <a:pt x="840" y="1190"/>
                    <a:pt x="834" y="1186"/>
                  </a:cubicBezTo>
                  <a:cubicBezTo>
                    <a:pt x="677" y="1097"/>
                    <a:pt x="677" y="1097"/>
                    <a:pt x="677" y="1097"/>
                  </a:cubicBezTo>
                  <a:cubicBezTo>
                    <a:pt x="718" y="1073"/>
                    <a:pt x="718" y="1073"/>
                    <a:pt x="718" y="1073"/>
                  </a:cubicBezTo>
                  <a:cubicBezTo>
                    <a:pt x="723" y="1071"/>
                    <a:pt x="727" y="1067"/>
                    <a:pt x="730" y="1062"/>
                  </a:cubicBezTo>
                  <a:cubicBezTo>
                    <a:pt x="831" y="1120"/>
                    <a:pt x="831" y="1120"/>
                    <a:pt x="831" y="1120"/>
                  </a:cubicBezTo>
                  <a:cubicBezTo>
                    <a:pt x="831" y="926"/>
                    <a:pt x="831" y="926"/>
                    <a:pt x="831" y="926"/>
                  </a:cubicBezTo>
                  <a:cubicBezTo>
                    <a:pt x="56" y="483"/>
                    <a:pt x="56" y="483"/>
                    <a:pt x="56" y="483"/>
                  </a:cubicBezTo>
                  <a:cubicBezTo>
                    <a:pt x="56" y="679"/>
                    <a:pt x="56" y="679"/>
                    <a:pt x="56" y="679"/>
                  </a:cubicBezTo>
                  <a:cubicBezTo>
                    <a:pt x="57" y="681"/>
                    <a:pt x="57" y="681"/>
                    <a:pt x="57" y="681"/>
                  </a:cubicBezTo>
                  <a:cubicBezTo>
                    <a:pt x="66" y="687"/>
                    <a:pt x="66" y="687"/>
                    <a:pt x="66" y="687"/>
                  </a:cubicBezTo>
                  <a:cubicBezTo>
                    <a:pt x="66" y="750"/>
                    <a:pt x="66" y="750"/>
                    <a:pt x="66" y="750"/>
                  </a:cubicBezTo>
                  <a:cubicBezTo>
                    <a:pt x="27" y="728"/>
                    <a:pt x="27" y="728"/>
                    <a:pt x="27" y="728"/>
                  </a:cubicBezTo>
                  <a:cubicBezTo>
                    <a:pt x="4" y="710"/>
                    <a:pt x="4" y="710"/>
                    <a:pt x="4" y="710"/>
                  </a:cubicBezTo>
                  <a:cubicBezTo>
                    <a:pt x="0" y="691"/>
                    <a:pt x="0" y="691"/>
                    <a:pt x="0" y="691"/>
                  </a:cubicBezTo>
                  <a:cubicBezTo>
                    <a:pt x="0" y="448"/>
                    <a:pt x="0" y="448"/>
                    <a:pt x="0" y="448"/>
                  </a:cubicBezTo>
                  <a:cubicBezTo>
                    <a:pt x="0" y="434"/>
                    <a:pt x="6" y="423"/>
                    <a:pt x="17" y="416"/>
                  </a:cubicBezTo>
                  <a:cubicBezTo>
                    <a:pt x="28" y="410"/>
                    <a:pt x="41" y="410"/>
                    <a:pt x="53" y="417"/>
                  </a:cubicBezTo>
                  <a:cubicBezTo>
                    <a:pt x="96" y="442"/>
                    <a:pt x="96" y="442"/>
                    <a:pt x="96" y="442"/>
                  </a:cubicBezTo>
                  <a:cubicBezTo>
                    <a:pt x="97" y="441"/>
                    <a:pt x="97" y="441"/>
                    <a:pt x="97" y="441"/>
                  </a:cubicBezTo>
                  <a:cubicBezTo>
                    <a:pt x="877" y="881"/>
                    <a:pt x="877" y="881"/>
                    <a:pt x="877" y="881"/>
                  </a:cubicBezTo>
                  <a:cubicBezTo>
                    <a:pt x="881" y="883"/>
                    <a:pt x="886" y="892"/>
                    <a:pt x="886" y="897"/>
                  </a:cubicBezTo>
                  <a:close/>
                  <a:moveTo>
                    <a:pt x="1600" y="438"/>
                  </a:moveTo>
                  <a:cubicBezTo>
                    <a:pt x="1601" y="441"/>
                    <a:pt x="1601" y="444"/>
                    <a:pt x="1601" y="448"/>
                  </a:cubicBezTo>
                  <a:cubicBezTo>
                    <a:pt x="1601" y="669"/>
                    <a:pt x="1601" y="669"/>
                    <a:pt x="1601" y="669"/>
                  </a:cubicBezTo>
                  <a:cubicBezTo>
                    <a:pt x="1601" y="686"/>
                    <a:pt x="1591" y="704"/>
                    <a:pt x="1576" y="712"/>
                  </a:cubicBezTo>
                  <a:cubicBezTo>
                    <a:pt x="919" y="1087"/>
                    <a:pt x="919" y="1087"/>
                    <a:pt x="919" y="1087"/>
                  </a:cubicBezTo>
                  <a:cubicBezTo>
                    <a:pt x="919" y="897"/>
                    <a:pt x="919" y="897"/>
                    <a:pt x="919" y="897"/>
                  </a:cubicBezTo>
                  <a:cubicBezTo>
                    <a:pt x="919" y="880"/>
                    <a:pt x="909" y="862"/>
                    <a:pt x="894" y="853"/>
                  </a:cubicBezTo>
                  <a:lnTo>
                    <a:pt x="1600" y="438"/>
                  </a:lnTo>
                  <a:close/>
                  <a:moveTo>
                    <a:pt x="525" y="886"/>
                  </a:moveTo>
                  <a:cubicBezTo>
                    <a:pt x="522" y="886"/>
                    <a:pt x="519" y="885"/>
                    <a:pt x="516" y="884"/>
                  </a:cubicBezTo>
                  <a:cubicBezTo>
                    <a:pt x="316" y="770"/>
                    <a:pt x="316" y="770"/>
                    <a:pt x="316" y="770"/>
                  </a:cubicBezTo>
                  <a:cubicBezTo>
                    <a:pt x="307" y="765"/>
                    <a:pt x="300" y="753"/>
                    <a:pt x="300" y="742"/>
                  </a:cubicBezTo>
                  <a:cubicBezTo>
                    <a:pt x="300" y="721"/>
                    <a:pt x="300" y="721"/>
                    <a:pt x="300" y="721"/>
                  </a:cubicBezTo>
                  <a:cubicBezTo>
                    <a:pt x="300" y="708"/>
                    <a:pt x="311" y="701"/>
                    <a:pt x="323" y="708"/>
                  </a:cubicBezTo>
                  <a:cubicBezTo>
                    <a:pt x="523" y="822"/>
                    <a:pt x="523" y="822"/>
                    <a:pt x="523" y="822"/>
                  </a:cubicBezTo>
                  <a:cubicBezTo>
                    <a:pt x="532" y="827"/>
                    <a:pt x="539" y="839"/>
                    <a:pt x="539" y="849"/>
                  </a:cubicBezTo>
                  <a:cubicBezTo>
                    <a:pt x="539" y="870"/>
                    <a:pt x="539" y="870"/>
                    <a:pt x="539" y="870"/>
                  </a:cubicBezTo>
                  <a:cubicBezTo>
                    <a:pt x="539" y="880"/>
                    <a:pt x="533" y="886"/>
                    <a:pt x="525" y="886"/>
                  </a:cubicBezTo>
                  <a:close/>
                  <a:moveTo>
                    <a:pt x="712" y="1033"/>
                  </a:moveTo>
                  <a:cubicBezTo>
                    <a:pt x="718" y="1040"/>
                    <a:pt x="716" y="1051"/>
                    <a:pt x="708" y="1056"/>
                  </a:cubicBezTo>
                  <a:cubicBezTo>
                    <a:pt x="648" y="1091"/>
                    <a:pt x="648" y="1091"/>
                    <a:pt x="648" y="1091"/>
                  </a:cubicBezTo>
                  <a:cubicBezTo>
                    <a:pt x="640" y="1096"/>
                    <a:pt x="626" y="1090"/>
                    <a:pt x="622" y="1086"/>
                  </a:cubicBezTo>
                  <a:cubicBezTo>
                    <a:pt x="618" y="1082"/>
                    <a:pt x="617" y="1070"/>
                    <a:pt x="617" y="1070"/>
                  </a:cubicBezTo>
                  <a:cubicBezTo>
                    <a:pt x="617" y="932"/>
                    <a:pt x="617" y="932"/>
                    <a:pt x="617" y="932"/>
                  </a:cubicBezTo>
                  <a:cubicBezTo>
                    <a:pt x="617" y="932"/>
                    <a:pt x="618" y="918"/>
                    <a:pt x="625" y="914"/>
                  </a:cubicBezTo>
                  <a:cubicBezTo>
                    <a:pt x="684" y="880"/>
                    <a:pt x="684" y="880"/>
                    <a:pt x="684" y="880"/>
                  </a:cubicBezTo>
                  <a:cubicBezTo>
                    <a:pt x="693" y="875"/>
                    <a:pt x="706" y="878"/>
                    <a:pt x="712" y="885"/>
                  </a:cubicBezTo>
                  <a:cubicBezTo>
                    <a:pt x="712" y="885"/>
                    <a:pt x="712" y="885"/>
                    <a:pt x="712" y="885"/>
                  </a:cubicBezTo>
                  <a:cubicBezTo>
                    <a:pt x="717" y="893"/>
                    <a:pt x="716" y="904"/>
                    <a:pt x="708" y="909"/>
                  </a:cubicBezTo>
                  <a:cubicBezTo>
                    <a:pt x="659" y="937"/>
                    <a:pt x="659" y="937"/>
                    <a:pt x="659" y="937"/>
                  </a:cubicBezTo>
                  <a:cubicBezTo>
                    <a:pt x="659" y="1044"/>
                    <a:pt x="659" y="1044"/>
                    <a:pt x="659" y="1044"/>
                  </a:cubicBezTo>
                  <a:cubicBezTo>
                    <a:pt x="684" y="1029"/>
                    <a:pt x="684" y="1029"/>
                    <a:pt x="684" y="1029"/>
                  </a:cubicBezTo>
                  <a:cubicBezTo>
                    <a:pt x="693" y="1024"/>
                    <a:pt x="706" y="1025"/>
                    <a:pt x="712" y="1033"/>
                  </a:cubicBezTo>
                  <a:close/>
                  <a:moveTo>
                    <a:pt x="182" y="733"/>
                  </a:moveTo>
                  <a:cubicBezTo>
                    <a:pt x="188" y="740"/>
                    <a:pt x="186" y="751"/>
                    <a:pt x="177" y="756"/>
                  </a:cubicBezTo>
                  <a:cubicBezTo>
                    <a:pt x="118" y="791"/>
                    <a:pt x="118" y="791"/>
                    <a:pt x="118" y="791"/>
                  </a:cubicBezTo>
                  <a:cubicBezTo>
                    <a:pt x="109" y="796"/>
                    <a:pt x="96" y="790"/>
                    <a:pt x="92" y="786"/>
                  </a:cubicBezTo>
                  <a:cubicBezTo>
                    <a:pt x="88" y="782"/>
                    <a:pt x="86" y="770"/>
                    <a:pt x="86" y="770"/>
                  </a:cubicBezTo>
                  <a:cubicBezTo>
                    <a:pt x="86" y="632"/>
                    <a:pt x="86" y="632"/>
                    <a:pt x="86" y="632"/>
                  </a:cubicBezTo>
                  <a:cubicBezTo>
                    <a:pt x="86" y="632"/>
                    <a:pt x="88" y="618"/>
                    <a:pt x="95" y="614"/>
                  </a:cubicBezTo>
                  <a:cubicBezTo>
                    <a:pt x="154" y="580"/>
                    <a:pt x="154" y="580"/>
                    <a:pt x="154" y="580"/>
                  </a:cubicBezTo>
                  <a:cubicBezTo>
                    <a:pt x="163" y="575"/>
                    <a:pt x="176" y="578"/>
                    <a:pt x="181" y="585"/>
                  </a:cubicBezTo>
                  <a:cubicBezTo>
                    <a:pt x="181" y="585"/>
                    <a:pt x="181" y="585"/>
                    <a:pt x="181" y="585"/>
                  </a:cubicBezTo>
                  <a:cubicBezTo>
                    <a:pt x="187" y="593"/>
                    <a:pt x="186" y="604"/>
                    <a:pt x="177" y="609"/>
                  </a:cubicBezTo>
                  <a:cubicBezTo>
                    <a:pt x="129" y="637"/>
                    <a:pt x="129" y="637"/>
                    <a:pt x="129" y="637"/>
                  </a:cubicBezTo>
                  <a:cubicBezTo>
                    <a:pt x="129" y="744"/>
                    <a:pt x="129" y="744"/>
                    <a:pt x="129" y="744"/>
                  </a:cubicBezTo>
                  <a:cubicBezTo>
                    <a:pt x="154" y="729"/>
                    <a:pt x="154" y="729"/>
                    <a:pt x="154" y="729"/>
                  </a:cubicBezTo>
                  <a:cubicBezTo>
                    <a:pt x="163" y="724"/>
                    <a:pt x="176" y="725"/>
                    <a:pt x="182" y="73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1170006"/>
              <a:endParaRPr lang="en-US" sz="16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cxnSp>
        <p:nvCxnSpPr>
          <p:cNvPr id="54" name="Straight Connector 85"/>
          <p:cNvCxnSpPr/>
          <p:nvPr/>
        </p:nvCxnSpPr>
        <p:spPr>
          <a:xfrm rot="5400000">
            <a:off x="2778930" y="3652376"/>
            <a:ext cx="1942529" cy="1557"/>
          </a:xfrm>
          <a:prstGeom prst="line">
            <a:avLst/>
          </a:prstGeom>
          <a:noFill/>
          <a:ln w="19050" cap="rnd" cmpd="sng" algn="ctr">
            <a:solidFill>
              <a:srgbClr val="FFFFFF"/>
            </a:solidFill>
            <a:prstDash val="sysDot"/>
            <a:headEnd type="oval" w="med" len="med"/>
            <a:tailEnd type="oval" w="med" len="med"/>
          </a:ln>
          <a:effectLst/>
        </p:spPr>
      </p:cxnSp>
      <p:grpSp>
        <p:nvGrpSpPr>
          <p:cNvPr id="55" name="Group 76"/>
          <p:cNvGrpSpPr>
            <a:grpSpLocks noChangeAspect="1"/>
          </p:cNvGrpSpPr>
          <p:nvPr/>
        </p:nvGrpSpPr>
        <p:grpSpPr bwMode="auto">
          <a:xfrm>
            <a:off x="1304893" y="2606400"/>
            <a:ext cx="503288" cy="515085"/>
            <a:chOff x="18041" y="3869"/>
            <a:chExt cx="2034" cy="1890"/>
          </a:xfrm>
          <a:solidFill>
            <a:srgbClr val="FFFFFF"/>
          </a:solidFill>
        </p:grpSpPr>
        <p:sp>
          <p:nvSpPr>
            <p:cNvPr id="56" name="Freeform 77"/>
            <p:cNvSpPr>
              <a:spLocks noEditPoints="1"/>
            </p:cNvSpPr>
            <p:nvPr/>
          </p:nvSpPr>
          <p:spPr bwMode="auto">
            <a:xfrm>
              <a:off x="18041" y="4651"/>
              <a:ext cx="388" cy="388"/>
            </a:xfrm>
            <a:custGeom>
              <a:avLst/>
              <a:gdLst>
                <a:gd name="T0" fmla="*/ 82 w 164"/>
                <a:gd name="T1" fmla="*/ 164 h 164"/>
                <a:gd name="T2" fmla="*/ 0 w 164"/>
                <a:gd name="T3" fmla="*/ 82 h 164"/>
                <a:gd name="T4" fmla="*/ 82 w 164"/>
                <a:gd name="T5" fmla="*/ 0 h 164"/>
                <a:gd name="T6" fmla="*/ 164 w 164"/>
                <a:gd name="T7" fmla="*/ 82 h 164"/>
                <a:gd name="T8" fmla="*/ 82 w 164"/>
                <a:gd name="T9" fmla="*/ 164 h 164"/>
                <a:gd name="T10" fmla="*/ 82 w 164"/>
                <a:gd name="T11" fmla="*/ 22 h 164"/>
                <a:gd name="T12" fmla="*/ 22 w 164"/>
                <a:gd name="T13" fmla="*/ 82 h 164"/>
                <a:gd name="T14" fmla="*/ 82 w 164"/>
                <a:gd name="T15" fmla="*/ 142 h 164"/>
                <a:gd name="T16" fmla="*/ 142 w 164"/>
                <a:gd name="T17" fmla="*/ 82 h 164"/>
                <a:gd name="T18" fmla="*/ 82 w 164"/>
                <a:gd name="T19" fmla="*/ 2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4">
                  <a:moveTo>
                    <a:pt x="82" y="164"/>
                  </a:moveTo>
                  <a:cubicBezTo>
                    <a:pt x="37" y="164"/>
                    <a:pt x="0" y="127"/>
                    <a:pt x="0" y="82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7" y="0"/>
                    <a:pt x="164" y="37"/>
                    <a:pt x="164" y="82"/>
                  </a:cubicBezTo>
                  <a:cubicBezTo>
                    <a:pt x="164" y="127"/>
                    <a:pt x="127" y="164"/>
                    <a:pt x="82" y="164"/>
                  </a:cubicBezTo>
                  <a:close/>
                  <a:moveTo>
                    <a:pt x="82" y="22"/>
                  </a:moveTo>
                  <a:cubicBezTo>
                    <a:pt x="49" y="22"/>
                    <a:pt x="22" y="49"/>
                    <a:pt x="22" y="82"/>
                  </a:cubicBezTo>
                  <a:cubicBezTo>
                    <a:pt x="22" y="115"/>
                    <a:pt x="49" y="142"/>
                    <a:pt x="82" y="142"/>
                  </a:cubicBezTo>
                  <a:cubicBezTo>
                    <a:pt x="115" y="142"/>
                    <a:pt x="142" y="115"/>
                    <a:pt x="142" y="82"/>
                  </a:cubicBezTo>
                  <a:cubicBezTo>
                    <a:pt x="142" y="49"/>
                    <a:pt x="115" y="22"/>
                    <a:pt x="82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03" tIns="45701" rIns="91403" bIns="45701" numCol="1" anchor="t" anchorCtr="0" compatLnSpc="1">
              <a:prstTxWarp prst="textNoShape">
                <a:avLst/>
              </a:prstTxWarp>
            </a:bodyPr>
            <a:lstStyle/>
            <a:p>
              <a:pPr defTabSz="89448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kern="0" spc="-29" dirty="0">
                <a:solidFill>
                  <a:sysClr val="windowText" lastClr="00000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57" name="Freeform 78"/>
            <p:cNvSpPr>
              <a:spLocks noEditPoints="1"/>
            </p:cNvSpPr>
            <p:nvPr/>
          </p:nvSpPr>
          <p:spPr bwMode="auto">
            <a:xfrm>
              <a:off x="18185" y="3869"/>
              <a:ext cx="1890" cy="1890"/>
            </a:xfrm>
            <a:custGeom>
              <a:avLst/>
              <a:gdLst>
                <a:gd name="T0" fmla="*/ 400 w 800"/>
                <a:gd name="T1" fmla="*/ 0 h 800"/>
                <a:gd name="T2" fmla="*/ 0 w 800"/>
                <a:gd name="T3" fmla="*/ 400 h 800"/>
                <a:gd name="T4" fmla="*/ 400 w 800"/>
                <a:gd name="T5" fmla="*/ 800 h 800"/>
                <a:gd name="T6" fmla="*/ 800 w 800"/>
                <a:gd name="T7" fmla="*/ 400 h 800"/>
                <a:gd name="T8" fmla="*/ 400 w 800"/>
                <a:gd name="T9" fmla="*/ 0 h 800"/>
                <a:gd name="T10" fmla="*/ 648 w 800"/>
                <a:gd name="T11" fmla="*/ 116 h 800"/>
                <a:gd name="T12" fmla="*/ 486 w 800"/>
                <a:gd name="T13" fmla="*/ 302 h 800"/>
                <a:gd name="T14" fmla="*/ 469 w 800"/>
                <a:gd name="T15" fmla="*/ 290 h 800"/>
                <a:gd name="T16" fmla="*/ 600 w 800"/>
                <a:gd name="T17" fmla="*/ 80 h 800"/>
                <a:gd name="T18" fmla="*/ 648 w 800"/>
                <a:gd name="T19" fmla="*/ 116 h 800"/>
                <a:gd name="T20" fmla="*/ 292 w 800"/>
                <a:gd name="T21" fmla="*/ 400 h 800"/>
                <a:gd name="T22" fmla="*/ 400 w 800"/>
                <a:gd name="T23" fmla="*/ 292 h 800"/>
                <a:gd name="T24" fmla="*/ 508 w 800"/>
                <a:gd name="T25" fmla="*/ 400 h 800"/>
                <a:gd name="T26" fmla="*/ 400 w 800"/>
                <a:gd name="T27" fmla="*/ 508 h 800"/>
                <a:gd name="T28" fmla="*/ 292 w 800"/>
                <a:gd name="T29" fmla="*/ 400 h 800"/>
                <a:gd name="T30" fmla="*/ 49 w 800"/>
                <a:gd name="T31" fmla="*/ 538 h 800"/>
                <a:gd name="T32" fmla="*/ 23 w 800"/>
                <a:gd name="T33" fmla="*/ 400 h 800"/>
                <a:gd name="T34" fmla="*/ 400 w 800"/>
                <a:gd name="T35" fmla="*/ 23 h 800"/>
                <a:gd name="T36" fmla="*/ 563 w 800"/>
                <a:gd name="T37" fmla="*/ 60 h 800"/>
                <a:gd name="T38" fmla="*/ 456 w 800"/>
                <a:gd name="T39" fmla="*/ 282 h 800"/>
                <a:gd name="T40" fmla="*/ 400 w 800"/>
                <a:gd name="T41" fmla="*/ 270 h 800"/>
                <a:gd name="T42" fmla="*/ 270 w 800"/>
                <a:gd name="T43" fmla="*/ 400 h 800"/>
                <a:gd name="T44" fmla="*/ 279 w 800"/>
                <a:gd name="T45" fmla="*/ 448 h 800"/>
                <a:gd name="T46" fmla="*/ 49 w 800"/>
                <a:gd name="T47" fmla="*/ 538 h 800"/>
                <a:gd name="T48" fmla="*/ 152 w 800"/>
                <a:gd name="T49" fmla="*/ 684 h 800"/>
                <a:gd name="T50" fmla="*/ 314 w 800"/>
                <a:gd name="T51" fmla="*/ 498 h 800"/>
                <a:gd name="T52" fmla="*/ 331 w 800"/>
                <a:gd name="T53" fmla="*/ 511 h 800"/>
                <a:gd name="T54" fmla="*/ 200 w 800"/>
                <a:gd name="T55" fmla="*/ 720 h 800"/>
                <a:gd name="T56" fmla="*/ 152 w 800"/>
                <a:gd name="T57" fmla="*/ 684 h 800"/>
                <a:gd name="T58" fmla="*/ 400 w 800"/>
                <a:gd name="T59" fmla="*/ 777 h 800"/>
                <a:gd name="T60" fmla="*/ 237 w 800"/>
                <a:gd name="T61" fmla="*/ 740 h 800"/>
                <a:gd name="T62" fmla="*/ 344 w 800"/>
                <a:gd name="T63" fmla="*/ 518 h 800"/>
                <a:gd name="T64" fmla="*/ 400 w 800"/>
                <a:gd name="T65" fmla="*/ 531 h 800"/>
                <a:gd name="T66" fmla="*/ 530 w 800"/>
                <a:gd name="T67" fmla="*/ 400 h 800"/>
                <a:gd name="T68" fmla="*/ 521 w 800"/>
                <a:gd name="T69" fmla="*/ 352 h 800"/>
                <a:gd name="T70" fmla="*/ 751 w 800"/>
                <a:gd name="T71" fmla="*/ 262 h 800"/>
                <a:gd name="T72" fmla="*/ 777 w 800"/>
                <a:gd name="T73" fmla="*/ 400 h 800"/>
                <a:gd name="T74" fmla="*/ 400 w 800"/>
                <a:gd name="T75" fmla="*/ 777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00" h="800">
                  <a:moveTo>
                    <a:pt x="400" y="0"/>
                  </a:moveTo>
                  <a:cubicBezTo>
                    <a:pt x="179" y="0"/>
                    <a:pt x="0" y="179"/>
                    <a:pt x="0" y="400"/>
                  </a:cubicBezTo>
                  <a:cubicBezTo>
                    <a:pt x="0" y="621"/>
                    <a:pt x="179" y="800"/>
                    <a:pt x="400" y="800"/>
                  </a:cubicBezTo>
                  <a:cubicBezTo>
                    <a:pt x="621" y="800"/>
                    <a:pt x="800" y="621"/>
                    <a:pt x="800" y="400"/>
                  </a:cubicBezTo>
                  <a:cubicBezTo>
                    <a:pt x="800" y="179"/>
                    <a:pt x="621" y="0"/>
                    <a:pt x="400" y="0"/>
                  </a:cubicBezTo>
                  <a:close/>
                  <a:moveTo>
                    <a:pt x="648" y="116"/>
                  </a:moveTo>
                  <a:cubicBezTo>
                    <a:pt x="486" y="302"/>
                    <a:pt x="486" y="302"/>
                    <a:pt x="486" y="302"/>
                  </a:cubicBezTo>
                  <a:cubicBezTo>
                    <a:pt x="481" y="297"/>
                    <a:pt x="475" y="293"/>
                    <a:pt x="469" y="290"/>
                  </a:cubicBezTo>
                  <a:cubicBezTo>
                    <a:pt x="600" y="80"/>
                    <a:pt x="600" y="80"/>
                    <a:pt x="600" y="80"/>
                  </a:cubicBezTo>
                  <a:cubicBezTo>
                    <a:pt x="617" y="91"/>
                    <a:pt x="633" y="103"/>
                    <a:pt x="648" y="116"/>
                  </a:cubicBezTo>
                  <a:close/>
                  <a:moveTo>
                    <a:pt x="292" y="400"/>
                  </a:moveTo>
                  <a:cubicBezTo>
                    <a:pt x="292" y="341"/>
                    <a:pt x="341" y="292"/>
                    <a:pt x="400" y="292"/>
                  </a:cubicBezTo>
                  <a:cubicBezTo>
                    <a:pt x="459" y="292"/>
                    <a:pt x="508" y="341"/>
                    <a:pt x="508" y="400"/>
                  </a:cubicBezTo>
                  <a:cubicBezTo>
                    <a:pt x="508" y="459"/>
                    <a:pt x="459" y="508"/>
                    <a:pt x="400" y="508"/>
                  </a:cubicBezTo>
                  <a:cubicBezTo>
                    <a:pt x="341" y="508"/>
                    <a:pt x="292" y="459"/>
                    <a:pt x="292" y="400"/>
                  </a:cubicBezTo>
                  <a:close/>
                  <a:moveTo>
                    <a:pt x="49" y="538"/>
                  </a:moveTo>
                  <a:cubicBezTo>
                    <a:pt x="32" y="495"/>
                    <a:pt x="23" y="449"/>
                    <a:pt x="23" y="400"/>
                  </a:cubicBezTo>
                  <a:cubicBezTo>
                    <a:pt x="23" y="192"/>
                    <a:pt x="192" y="23"/>
                    <a:pt x="400" y="23"/>
                  </a:cubicBezTo>
                  <a:cubicBezTo>
                    <a:pt x="458" y="23"/>
                    <a:pt x="513" y="36"/>
                    <a:pt x="563" y="60"/>
                  </a:cubicBezTo>
                  <a:cubicBezTo>
                    <a:pt x="456" y="282"/>
                    <a:pt x="456" y="282"/>
                    <a:pt x="456" y="282"/>
                  </a:cubicBezTo>
                  <a:cubicBezTo>
                    <a:pt x="439" y="274"/>
                    <a:pt x="420" y="270"/>
                    <a:pt x="400" y="270"/>
                  </a:cubicBezTo>
                  <a:cubicBezTo>
                    <a:pt x="328" y="270"/>
                    <a:pt x="270" y="328"/>
                    <a:pt x="270" y="400"/>
                  </a:cubicBezTo>
                  <a:cubicBezTo>
                    <a:pt x="270" y="417"/>
                    <a:pt x="273" y="433"/>
                    <a:pt x="279" y="448"/>
                  </a:cubicBezTo>
                  <a:lnTo>
                    <a:pt x="49" y="538"/>
                  </a:lnTo>
                  <a:close/>
                  <a:moveTo>
                    <a:pt x="152" y="684"/>
                  </a:moveTo>
                  <a:cubicBezTo>
                    <a:pt x="314" y="498"/>
                    <a:pt x="314" y="498"/>
                    <a:pt x="314" y="498"/>
                  </a:cubicBezTo>
                  <a:cubicBezTo>
                    <a:pt x="320" y="503"/>
                    <a:pt x="325" y="507"/>
                    <a:pt x="331" y="511"/>
                  </a:cubicBezTo>
                  <a:cubicBezTo>
                    <a:pt x="200" y="720"/>
                    <a:pt x="200" y="720"/>
                    <a:pt x="200" y="720"/>
                  </a:cubicBezTo>
                  <a:cubicBezTo>
                    <a:pt x="183" y="709"/>
                    <a:pt x="167" y="697"/>
                    <a:pt x="152" y="684"/>
                  </a:cubicBezTo>
                  <a:close/>
                  <a:moveTo>
                    <a:pt x="400" y="777"/>
                  </a:moveTo>
                  <a:cubicBezTo>
                    <a:pt x="342" y="777"/>
                    <a:pt x="287" y="764"/>
                    <a:pt x="237" y="740"/>
                  </a:cubicBezTo>
                  <a:cubicBezTo>
                    <a:pt x="344" y="518"/>
                    <a:pt x="344" y="518"/>
                    <a:pt x="344" y="518"/>
                  </a:cubicBezTo>
                  <a:cubicBezTo>
                    <a:pt x="361" y="526"/>
                    <a:pt x="380" y="531"/>
                    <a:pt x="400" y="531"/>
                  </a:cubicBezTo>
                  <a:cubicBezTo>
                    <a:pt x="472" y="531"/>
                    <a:pt x="530" y="472"/>
                    <a:pt x="530" y="400"/>
                  </a:cubicBezTo>
                  <a:cubicBezTo>
                    <a:pt x="530" y="383"/>
                    <a:pt x="527" y="367"/>
                    <a:pt x="521" y="352"/>
                  </a:cubicBezTo>
                  <a:cubicBezTo>
                    <a:pt x="751" y="262"/>
                    <a:pt x="751" y="262"/>
                    <a:pt x="751" y="262"/>
                  </a:cubicBezTo>
                  <a:cubicBezTo>
                    <a:pt x="768" y="305"/>
                    <a:pt x="777" y="351"/>
                    <a:pt x="777" y="400"/>
                  </a:cubicBezTo>
                  <a:cubicBezTo>
                    <a:pt x="777" y="608"/>
                    <a:pt x="608" y="777"/>
                    <a:pt x="400" y="7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03" tIns="45701" rIns="91403" bIns="45701" numCol="1" anchor="t" anchorCtr="0" compatLnSpc="1">
              <a:prstTxWarp prst="textNoShape">
                <a:avLst/>
              </a:prstTxWarp>
            </a:bodyPr>
            <a:lstStyle/>
            <a:p>
              <a:pPr defTabSz="89448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kern="0" spc="-29" dirty="0">
                <a:solidFill>
                  <a:sysClr val="windowText" lastClr="00000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58" name="Left Brace 11"/>
          <p:cNvSpPr/>
          <p:nvPr/>
        </p:nvSpPr>
        <p:spPr>
          <a:xfrm rot="10800000">
            <a:off x="3750180" y="2681891"/>
            <a:ext cx="448154" cy="1942529"/>
          </a:xfrm>
          <a:prstGeom prst="leftBrace">
            <a:avLst/>
          </a:prstGeom>
          <a:noFill/>
          <a:ln w="28575">
            <a:solidFill>
              <a:srgbClr val="FFFFFF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9462" tIns="44732" rIns="89462" bIns="44732" rtlCol="0" anchor="ctr"/>
          <a:lstStyle/>
          <a:p>
            <a:pPr algn="ctr" defTabSz="1170006"/>
            <a:endParaRPr lang="nl-NL" sz="240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9" name="Rectangle 4"/>
          <p:cNvSpPr/>
          <p:nvPr/>
        </p:nvSpPr>
        <p:spPr>
          <a:xfrm>
            <a:off x="-59119" y="1262359"/>
            <a:ext cx="4183567" cy="374207"/>
          </a:xfrm>
          <a:prstGeom prst="rect">
            <a:avLst/>
          </a:prstGeom>
          <a:noFill/>
          <a:ln w="12700">
            <a:noFill/>
            <a:prstDash val="sysDot"/>
          </a:ln>
        </p:spPr>
        <p:txBody>
          <a:bodyPr wrap="none" lIns="89390" tIns="44732" rIns="134080" bIns="44732" anchor="ctr" anchorCtr="0">
            <a:noAutofit/>
          </a:bodyPr>
          <a:lstStyle/>
          <a:p>
            <a:pPr marL="57422" algn="ctr" defTabSz="89358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0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sz="2000" b="1" kern="0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000" b="1" kern="0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sz="2000" b="1" kern="0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000" b="1" kern="0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Quản</a:t>
            </a:r>
            <a:r>
              <a:rPr lang="en-US" sz="2000" b="1" kern="0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000" b="1" kern="0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ý</a:t>
            </a:r>
            <a:r>
              <a:rPr lang="en-US" sz="2000" b="1" kern="0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000" b="1" kern="0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ung</a:t>
            </a:r>
            <a:r>
              <a:rPr lang="en-US" sz="2000" b="1" kern="0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000" b="1" kern="0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âm</a:t>
            </a:r>
            <a:endParaRPr lang="en-US" sz="2000" b="1" kern="0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0" name="Rectangle 4"/>
          <p:cNvSpPr/>
          <p:nvPr/>
        </p:nvSpPr>
        <p:spPr>
          <a:xfrm>
            <a:off x="2480413" y="2680478"/>
            <a:ext cx="1120385" cy="374207"/>
          </a:xfrm>
          <a:prstGeom prst="rect">
            <a:avLst/>
          </a:prstGeom>
          <a:noFill/>
          <a:ln w="12700">
            <a:noFill/>
            <a:prstDash val="sysDot"/>
          </a:ln>
        </p:spPr>
        <p:txBody>
          <a:bodyPr wrap="none" lIns="89390" tIns="44732" rIns="134080" bIns="44732" anchor="ctr" anchorCtr="0">
            <a:noAutofit/>
          </a:bodyPr>
          <a:lstStyle/>
          <a:p>
            <a:pPr marL="57422" algn="ctr" defTabSz="89358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00" kern="0" dirty="0" err="1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Nền</a:t>
            </a:r>
            <a:r>
              <a:rPr lang="en-US" sz="1500" kern="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500" kern="0" dirty="0" err="1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Tảng</a:t>
            </a:r>
            <a:r>
              <a:rPr lang="en-US" sz="1500" kern="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 DSS</a:t>
            </a:r>
            <a:endParaRPr lang="en-US" sz="1500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1" name="Rectangle 4"/>
          <p:cNvSpPr/>
          <p:nvPr/>
        </p:nvSpPr>
        <p:spPr>
          <a:xfrm>
            <a:off x="2437606" y="3200400"/>
            <a:ext cx="1120385" cy="374207"/>
          </a:xfrm>
          <a:prstGeom prst="rect">
            <a:avLst/>
          </a:prstGeom>
          <a:noFill/>
          <a:ln w="12700">
            <a:noFill/>
            <a:prstDash val="sysDot"/>
          </a:ln>
        </p:spPr>
        <p:txBody>
          <a:bodyPr wrap="none" lIns="89390" tIns="44732" rIns="134080" bIns="44732" anchor="ctr" anchorCtr="0">
            <a:noAutofit/>
          </a:bodyPr>
          <a:lstStyle/>
          <a:p>
            <a:pPr marL="57422" algn="ctr" defTabSz="89358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SERVER</a:t>
            </a:r>
          </a:p>
          <a:p>
            <a:pPr marL="57422" algn="ctr" defTabSz="89358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(Windows server2008</a:t>
            </a:r>
            <a:r>
              <a:rPr lang="en-US" sz="1500" kern="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</a:p>
        </p:txBody>
      </p:sp>
      <p:sp>
        <p:nvSpPr>
          <p:cNvPr id="62" name="Rectangle 4"/>
          <p:cNvSpPr/>
          <p:nvPr/>
        </p:nvSpPr>
        <p:spPr>
          <a:xfrm>
            <a:off x="2256335" y="4025306"/>
            <a:ext cx="1120385" cy="374207"/>
          </a:xfrm>
          <a:prstGeom prst="rect">
            <a:avLst/>
          </a:prstGeom>
          <a:noFill/>
          <a:ln w="12700">
            <a:noFill/>
            <a:prstDash val="sysDot"/>
          </a:ln>
        </p:spPr>
        <p:txBody>
          <a:bodyPr wrap="none" lIns="89390" tIns="44732" rIns="134080" bIns="44732" anchor="ctr" anchorCtr="0">
            <a:noAutofit/>
          </a:bodyPr>
          <a:lstStyle/>
          <a:p>
            <a:pPr marL="57422" algn="ctr" defTabSz="89358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IP SAN</a:t>
            </a:r>
          </a:p>
        </p:txBody>
      </p:sp>
      <p:grpSp>
        <p:nvGrpSpPr>
          <p:cNvPr id="63" name="组合 62"/>
          <p:cNvGrpSpPr/>
          <p:nvPr/>
        </p:nvGrpSpPr>
        <p:grpSpPr>
          <a:xfrm>
            <a:off x="4273025" y="1262339"/>
            <a:ext cx="7917388" cy="4221204"/>
            <a:chOff x="4359274" y="1287462"/>
            <a:chExt cx="8077200" cy="4305237"/>
          </a:xfrm>
        </p:grpSpPr>
        <p:sp>
          <p:nvSpPr>
            <p:cNvPr id="64" name="Rectangle 3"/>
            <p:cNvSpPr/>
            <p:nvPr/>
          </p:nvSpPr>
          <p:spPr bwMode="auto">
            <a:xfrm>
              <a:off x="7940673" y="4335462"/>
              <a:ext cx="4495801" cy="914400"/>
            </a:xfrm>
            <a:prstGeom prst="rect">
              <a:avLst/>
            </a:prstGeom>
            <a:solidFill>
              <a:srgbClr val="0072C6"/>
            </a:solidFill>
            <a:ln w="1079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1440" tIns="46637" rIns="9144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94920">
                <a:lnSpc>
                  <a:spcPct val="90000"/>
                </a:lnSpc>
                <a:spcAft>
                  <a:spcPts val="588"/>
                </a:spcAft>
                <a:defRPr/>
              </a:pPr>
              <a:endParaRPr lang="en-US" sz="2000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65" name="Rectangle 4"/>
            <p:cNvSpPr/>
            <p:nvPr/>
          </p:nvSpPr>
          <p:spPr>
            <a:xfrm>
              <a:off x="7863656" y="1287462"/>
              <a:ext cx="4268013" cy="381656"/>
            </a:xfrm>
            <a:prstGeom prst="rect">
              <a:avLst/>
            </a:prstGeom>
            <a:noFill/>
            <a:ln w="12700">
              <a:noFill/>
              <a:prstDash val="sysDot"/>
            </a:ln>
          </p:spPr>
          <p:txBody>
            <a:bodyPr wrap="none" lIns="91331" tIns="45702" rIns="136999" bIns="45702" anchor="ctr" anchorCtr="0">
              <a:noAutofit/>
            </a:bodyPr>
            <a:lstStyle/>
            <a:p>
              <a:pPr marL="57422" algn="ctr" defTabSz="89358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 kern="0" dirty="0" err="1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Thiết</a:t>
              </a:r>
              <a:r>
                <a:rPr lang="en-US" sz="2000" b="1" kern="0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sz="2000" b="1" kern="0" dirty="0" err="1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Bị</a:t>
              </a:r>
              <a:endParaRPr lang="en-US" sz="2000" b="1" kern="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grpSp>
          <p:nvGrpSpPr>
            <p:cNvPr id="66" name="Group 40"/>
            <p:cNvGrpSpPr/>
            <p:nvPr/>
          </p:nvGrpSpPr>
          <p:grpSpPr>
            <a:xfrm>
              <a:off x="5608637" y="2762045"/>
              <a:ext cx="685796" cy="1802015"/>
              <a:chOff x="5066814" y="3539229"/>
              <a:chExt cx="686347" cy="1803466"/>
            </a:xfrm>
          </p:grpSpPr>
          <p:cxnSp>
            <p:nvCxnSpPr>
              <p:cNvPr id="93" name="Straight Arrow Connector 33"/>
              <p:cNvCxnSpPr/>
              <p:nvPr/>
            </p:nvCxnSpPr>
            <p:spPr>
              <a:xfrm rot="5400000">
                <a:off x="5118343" y="3563958"/>
                <a:ext cx="659548" cy="610089"/>
              </a:xfrm>
              <a:prstGeom prst="straightConnector1">
                <a:avLst/>
              </a:prstGeom>
              <a:noFill/>
              <a:ln w="19050" cap="rnd" cmpd="sng" algn="ctr">
                <a:solidFill>
                  <a:srgbClr val="FFFFFF"/>
                </a:solidFill>
                <a:prstDash val="sysDot"/>
                <a:headEnd type="triangle" w="med" len="med"/>
                <a:tailEnd type="triangle" w="med" len="med"/>
              </a:ln>
              <a:effectLst/>
            </p:spPr>
          </p:cxnSp>
          <p:cxnSp>
            <p:nvCxnSpPr>
              <p:cNvPr id="94" name="Straight Arrow Connector 25"/>
              <p:cNvCxnSpPr/>
              <p:nvPr/>
            </p:nvCxnSpPr>
            <p:spPr>
              <a:xfrm rot="16200000" flipV="1">
                <a:off x="5066814" y="4732605"/>
                <a:ext cx="610090" cy="610089"/>
              </a:xfrm>
              <a:prstGeom prst="straightConnector1">
                <a:avLst/>
              </a:prstGeom>
              <a:noFill/>
              <a:ln w="19050" cap="rnd" cmpd="sng" algn="ctr">
                <a:solidFill>
                  <a:srgbClr val="FFFFFF"/>
                </a:solidFill>
                <a:prstDash val="sysDot"/>
                <a:headEnd type="triangle" w="med" len="med"/>
                <a:tailEnd type="triangle" w="med" len="med"/>
              </a:ln>
              <a:effectLst/>
            </p:spPr>
          </p:cxnSp>
        </p:grpSp>
        <p:grpSp>
          <p:nvGrpSpPr>
            <p:cNvPr id="67" name="Group 36"/>
            <p:cNvGrpSpPr/>
            <p:nvPr/>
          </p:nvGrpSpPr>
          <p:grpSpPr>
            <a:xfrm>
              <a:off x="7603816" y="2079333"/>
              <a:ext cx="2411751" cy="1496297"/>
              <a:chOff x="7063605" y="2855964"/>
              <a:chExt cx="2413692" cy="1497502"/>
            </a:xfrm>
          </p:grpSpPr>
          <p:sp>
            <p:nvSpPr>
              <p:cNvPr id="91" name="Rectangle 20"/>
              <p:cNvSpPr/>
              <p:nvPr/>
            </p:nvSpPr>
            <p:spPr bwMode="auto">
              <a:xfrm>
                <a:off x="7063605" y="2855964"/>
                <a:ext cx="2413692" cy="1497502"/>
              </a:xfrm>
              <a:prstGeom prst="rect">
                <a:avLst/>
              </a:prstGeom>
              <a:noFill/>
              <a:ln w="1079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682" rIns="0" bIns="4568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8935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00" b="1" kern="0" dirty="0" err="1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hiết</a:t>
                </a:r>
                <a:r>
                  <a:rPr lang="en-US" sz="1500" b="1" kern="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1500" b="1" kern="0" dirty="0" err="1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ị</a:t>
                </a:r>
                <a:r>
                  <a:rPr lang="en-US" sz="1500" b="1" kern="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Encode</a:t>
                </a:r>
                <a:endParaRPr lang="en-US" sz="1500" b="1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  <a:p>
                <a:pPr algn="ctr" defTabSz="8935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00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IP</a:t>
                </a:r>
                <a:r>
                  <a:rPr lang="en-US" altLang="zh-CN" sz="1500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camera</a:t>
                </a:r>
                <a:r>
                  <a:rPr lang="en-US" sz="1500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, </a:t>
                </a:r>
              </a:p>
              <a:p>
                <a:pPr algn="ctr" defTabSz="8935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00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DVR &amp; NVR</a:t>
                </a:r>
              </a:p>
              <a:p>
                <a:pPr algn="ctr" defTabSz="8935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00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SVR/EVS</a:t>
                </a:r>
              </a:p>
              <a:p>
                <a:pPr algn="ctr" defTabSz="8935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5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  <a:p>
                <a:pPr algn="ctr" defTabSz="8935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00" b="1" kern="0" dirty="0" err="1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hiết</a:t>
                </a:r>
                <a:r>
                  <a:rPr lang="en-US" sz="1500" b="1" kern="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1500" b="1" kern="0" dirty="0" err="1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ị</a:t>
                </a:r>
                <a:r>
                  <a:rPr lang="en-US" sz="1500" b="1" kern="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1500" b="1" kern="0" dirty="0" err="1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áo</a:t>
                </a:r>
                <a:r>
                  <a:rPr lang="en-US" sz="1500" b="1" kern="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1500" b="1" kern="0" dirty="0" err="1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Động</a:t>
                </a:r>
                <a:endParaRPr lang="en-US" sz="1500" b="1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  <a:p>
                <a:pPr algn="ctr" defTabSz="893581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500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Alarm host</a:t>
                </a:r>
              </a:p>
            </p:txBody>
          </p:sp>
          <p:cxnSp>
            <p:nvCxnSpPr>
              <p:cNvPr id="92" name="Straight Connector 15"/>
              <p:cNvCxnSpPr/>
              <p:nvPr/>
            </p:nvCxnSpPr>
            <p:spPr>
              <a:xfrm>
                <a:off x="7173065" y="2908729"/>
                <a:ext cx="0" cy="1264790"/>
              </a:xfrm>
              <a:prstGeom prst="line">
                <a:avLst/>
              </a:prstGeom>
              <a:noFill/>
              <a:ln w="19050" cap="rnd" cmpd="sng" algn="ctr">
                <a:solidFill>
                  <a:srgbClr val="FFFFFF"/>
                </a:solidFill>
                <a:prstDash val="sysDot"/>
                <a:headEnd type="oval" w="med" len="med"/>
                <a:tailEnd type="oval" w="med" len="med"/>
              </a:ln>
              <a:effectLst/>
            </p:spPr>
          </p:cxnSp>
        </p:grpSp>
        <p:grpSp>
          <p:nvGrpSpPr>
            <p:cNvPr id="68" name="Group 35"/>
            <p:cNvGrpSpPr/>
            <p:nvPr/>
          </p:nvGrpSpPr>
          <p:grpSpPr>
            <a:xfrm>
              <a:off x="7465806" y="4096399"/>
              <a:ext cx="2637064" cy="1496300"/>
              <a:chOff x="6925482" y="4874656"/>
              <a:chExt cx="2639187" cy="1497504"/>
            </a:xfrm>
          </p:grpSpPr>
          <p:cxnSp>
            <p:nvCxnSpPr>
              <p:cNvPr id="89" name="Straight Connector 85"/>
              <p:cNvCxnSpPr/>
              <p:nvPr/>
            </p:nvCxnSpPr>
            <p:spPr>
              <a:xfrm>
                <a:off x="7173065" y="5055459"/>
                <a:ext cx="0" cy="950255"/>
              </a:xfrm>
              <a:prstGeom prst="line">
                <a:avLst/>
              </a:prstGeom>
              <a:noFill/>
              <a:ln w="19050" cap="rnd" cmpd="sng" algn="ctr">
                <a:solidFill>
                  <a:srgbClr val="FFFFFF"/>
                </a:solidFill>
                <a:prstDash val="sysDot"/>
                <a:headEnd type="oval" w="med" len="med"/>
                <a:tailEnd type="oval" w="med" len="med"/>
              </a:ln>
              <a:effectLst/>
            </p:spPr>
          </p:cxnSp>
          <p:sp>
            <p:nvSpPr>
              <p:cNvPr id="90" name="Rectangle 18"/>
              <p:cNvSpPr/>
              <p:nvPr/>
            </p:nvSpPr>
            <p:spPr bwMode="auto">
              <a:xfrm>
                <a:off x="6925482" y="4874656"/>
                <a:ext cx="2639187" cy="1497504"/>
              </a:xfrm>
              <a:prstGeom prst="rect">
                <a:avLst/>
              </a:prstGeom>
              <a:noFill/>
              <a:ln w="1079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682" rIns="0" bIns="4568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8935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00" b="1" kern="0" dirty="0" err="1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Phần</a:t>
                </a:r>
                <a:r>
                  <a:rPr lang="en-US" sz="1500" b="1" kern="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1500" b="1" kern="0" dirty="0" err="1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Mềm</a:t>
                </a:r>
                <a:r>
                  <a:rPr lang="en-US" sz="1500" b="1" kern="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DSS</a:t>
                </a:r>
                <a:endParaRPr lang="en-US" sz="1500" b="1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  <a:p>
                <a:pPr algn="ctr" defTabSz="893581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500" kern="0" dirty="0" err="1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Phần</a:t>
                </a:r>
                <a:r>
                  <a:rPr lang="en-US" sz="1500" kern="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1500" kern="0" dirty="0" err="1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mềm</a:t>
                </a:r>
                <a:r>
                  <a:rPr lang="en-US" sz="1500" kern="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1500" kern="0" dirty="0" err="1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máy</a:t>
                </a:r>
                <a:r>
                  <a:rPr lang="en-US" sz="1500" kern="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1500" kern="0" dirty="0" err="1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ính</a:t>
                </a:r>
                <a:endParaRPr lang="en-US" sz="15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  <a:p>
                <a:pPr algn="ctr" defTabSz="893581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500" kern="0" dirty="0" err="1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Phần</a:t>
                </a:r>
                <a:r>
                  <a:rPr lang="en-US" sz="1500" kern="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1500" kern="0" dirty="0" err="1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mềm</a:t>
                </a:r>
                <a:r>
                  <a:rPr lang="en-US" sz="1500" kern="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1500" kern="0" dirty="0" err="1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di</a:t>
                </a:r>
                <a:r>
                  <a:rPr lang="en-US" sz="1500" kern="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1500" kern="0" dirty="0" err="1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động</a:t>
                </a:r>
                <a:endParaRPr lang="en-US" sz="15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pic>
          <p:nvPicPr>
            <p:cNvPr id="69" name="Picture 6" descr="\\MAGNUM\Projects\Microsoft\Cloud Power FY12\Design\ICONS_PNG\Cloud.png"/>
            <p:cNvPicPr>
              <a:picLocks noChangeAspect="1" noChangeArrowheads="1"/>
            </p:cNvPicPr>
            <p:nvPr/>
          </p:nvPicPr>
          <p:blipFill>
            <a:blip r:embed="rId3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6265863" y="4183062"/>
              <a:ext cx="914400" cy="914400"/>
            </a:xfrm>
            <a:prstGeom prst="rect">
              <a:avLst/>
            </a:prstGeom>
            <a:noFill/>
          </p:spPr>
        </p:pic>
        <p:cxnSp>
          <p:nvCxnSpPr>
            <p:cNvPr id="70" name="Straight Connector 70"/>
            <p:cNvCxnSpPr/>
            <p:nvPr/>
          </p:nvCxnSpPr>
          <p:spPr>
            <a:xfrm>
              <a:off x="7254874" y="2659062"/>
              <a:ext cx="381000" cy="1588"/>
            </a:xfrm>
            <a:prstGeom prst="line">
              <a:avLst/>
            </a:prstGeom>
            <a:noFill/>
            <a:ln w="19050" cap="rnd" cmpd="sng" algn="ctr">
              <a:solidFill>
                <a:srgbClr val="FFFFFF"/>
              </a:solidFill>
              <a:prstDash val="sysDot"/>
              <a:headEnd type="triangle" w="med" len="med"/>
              <a:tailEnd type="triangle" w="med" len="med"/>
            </a:ln>
            <a:effectLst/>
          </p:spPr>
        </p:cxnSp>
        <p:cxnSp>
          <p:nvCxnSpPr>
            <p:cNvPr id="71" name="Straight Connector 70"/>
            <p:cNvCxnSpPr/>
            <p:nvPr/>
          </p:nvCxnSpPr>
          <p:spPr>
            <a:xfrm flipV="1">
              <a:off x="7254874" y="4704514"/>
              <a:ext cx="381000" cy="11948"/>
            </a:xfrm>
            <a:prstGeom prst="line">
              <a:avLst/>
            </a:prstGeom>
            <a:noFill/>
            <a:ln w="19050" cap="rnd" cmpd="sng" algn="ctr">
              <a:solidFill>
                <a:srgbClr val="FFFFFF"/>
              </a:solidFill>
              <a:prstDash val="sysDot"/>
              <a:headEnd type="triangle" w="med" len="med"/>
              <a:tailEnd type="triangle" w="med" len="med"/>
            </a:ln>
            <a:effectLst/>
          </p:spPr>
        </p:cxnSp>
        <p:pic>
          <p:nvPicPr>
            <p:cNvPr id="72" name="图片 71" descr="未标题-45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785912" y="3344862"/>
              <a:ext cx="944962" cy="685800"/>
            </a:xfrm>
            <a:prstGeom prst="rect">
              <a:avLst/>
            </a:prstGeom>
          </p:spPr>
        </p:pic>
        <p:pic>
          <p:nvPicPr>
            <p:cNvPr id="73" name="图片 72" descr="未标题-45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418263" y="2466147"/>
              <a:ext cx="685800" cy="497715"/>
            </a:xfrm>
            <a:prstGeom prst="rect">
              <a:avLst/>
            </a:prstGeom>
          </p:spPr>
        </p:pic>
        <p:cxnSp>
          <p:nvCxnSpPr>
            <p:cNvPr id="74" name="Straight Connector 70"/>
            <p:cNvCxnSpPr/>
            <p:nvPr/>
          </p:nvCxnSpPr>
          <p:spPr>
            <a:xfrm>
              <a:off x="4359274" y="3724274"/>
              <a:ext cx="381000" cy="1588"/>
            </a:xfrm>
            <a:prstGeom prst="line">
              <a:avLst/>
            </a:prstGeom>
            <a:noFill/>
            <a:ln w="19050" cap="rnd" cmpd="sng" algn="ctr">
              <a:solidFill>
                <a:srgbClr val="FFFFFF"/>
              </a:solidFill>
              <a:prstDash val="sysDot"/>
              <a:headEnd type="triangle" w="med" len="med"/>
              <a:tailEnd type="triangle" w="med" len="med"/>
            </a:ln>
            <a:effectLst/>
          </p:spPr>
        </p:cxnSp>
        <p:pic>
          <p:nvPicPr>
            <p:cNvPr id="75" name="图片 74" descr="未标题-278.png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617074" y="2125662"/>
              <a:ext cx="1077191" cy="260174"/>
            </a:xfrm>
            <a:prstGeom prst="rect">
              <a:avLst/>
            </a:prstGeom>
          </p:spPr>
        </p:pic>
        <p:pic>
          <p:nvPicPr>
            <p:cNvPr id="76" name="图片 75" descr="未标题-28.png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0988674" y="2113894"/>
              <a:ext cx="609600" cy="316568"/>
            </a:xfrm>
            <a:prstGeom prst="rect">
              <a:avLst/>
            </a:prstGeom>
          </p:spPr>
        </p:pic>
        <p:pic>
          <p:nvPicPr>
            <p:cNvPr id="77" name="图片 76" descr="未标题-29.png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1064874" y="2532449"/>
              <a:ext cx="588773" cy="431413"/>
            </a:xfrm>
            <a:prstGeom prst="rect">
              <a:avLst/>
            </a:prstGeom>
          </p:spPr>
        </p:pic>
        <p:pic>
          <p:nvPicPr>
            <p:cNvPr id="78" name="图片 77" descr="未标题-24.png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1064874" y="3040062"/>
              <a:ext cx="457200" cy="653143"/>
            </a:xfrm>
            <a:prstGeom prst="rect">
              <a:avLst/>
            </a:prstGeom>
          </p:spPr>
        </p:pic>
        <p:pic>
          <p:nvPicPr>
            <p:cNvPr id="79" name="图片 78" descr="未标题-26.png"/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9845674" y="2887352"/>
              <a:ext cx="457200" cy="609910"/>
            </a:xfrm>
            <a:prstGeom prst="rect">
              <a:avLst/>
            </a:prstGeom>
          </p:spPr>
        </p:pic>
        <p:grpSp>
          <p:nvGrpSpPr>
            <p:cNvPr id="80" name="Group 18"/>
            <p:cNvGrpSpPr/>
            <p:nvPr/>
          </p:nvGrpSpPr>
          <p:grpSpPr>
            <a:xfrm>
              <a:off x="9845674" y="4564062"/>
              <a:ext cx="1981200" cy="609600"/>
              <a:chOff x="5893617" y="1802660"/>
              <a:chExt cx="1352461" cy="321369"/>
            </a:xfrm>
          </p:grpSpPr>
          <p:pic>
            <p:nvPicPr>
              <p:cNvPr id="86" name="Picture 3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 bwMode="auto">
              <a:xfrm flipH="1">
                <a:off x="7063083" y="1810594"/>
                <a:ext cx="182995" cy="305502"/>
              </a:xfrm>
              <a:prstGeom prst="rect">
                <a:avLst/>
              </a:prstGeom>
              <a:noFill/>
              <a:extLst/>
            </p:spPr>
          </p:pic>
          <p:pic>
            <p:nvPicPr>
              <p:cNvPr id="87" name="Picture 3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 bwMode="auto">
              <a:xfrm flipH="1">
                <a:off x="5893617" y="1802660"/>
                <a:ext cx="419868" cy="321369"/>
              </a:xfrm>
              <a:prstGeom prst="rect">
                <a:avLst/>
              </a:prstGeom>
              <a:noFill/>
              <a:extLst/>
            </p:spPr>
          </p:pic>
          <p:pic>
            <p:nvPicPr>
              <p:cNvPr id="88" name="Picture 5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 bwMode="auto">
              <a:xfrm flipH="1">
                <a:off x="6411139" y="1811898"/>
                <a:ext cx="470749" cy="302897"/>
              </a:xfrm>
              <a:prstGeom prst="rect">
                <a:avLst/>
              </a:prstGeom>
              <a:noFill/>
              <a:extLst/>
            </p:spPr>
          </p:pic>
        </p:grpSp>
        <p:sp>
          <p:nvSpPr>
            <p:cNvPr id="81" name="Rectangle 4"/>
            <p:cNvSpPr/>
            <p:nvPr/>
          </p:nvSpPr>
          <p:spPr>
            <a:xfrm>
              <a:off x="4694236" y="1287462"/>
              <a:ext cx="1981201" cy="381656"/>
            </a:xfrm>
            <a:prstGeom prst="rect">
              <a:avLst/>
            </a:prstGeom>
            <a:noFill/>
            <a:ln w="12700">
              <a:noFill/>
              <a:prstDash val="sysDot"/>
            </a:ln>
          </p:spPr>
          <p:txBody>
            <a:bodyPr wrap="none" lIns="91331" tIns="45702" rIns="136999" bIns="45702" anchor="ctr" anchorCtr="0">
              <a:noAutofit/>
            </a:bodyPr>
            <a:lstStyle/>
            <a:p>
              <a:pPr marL="57422" algn="ctr" defTabSz="89358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 kern="0" dirty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Network</a:t>
              </a:r>
            </a:p>
          </p:txBody>
        </p:sp>
        <p:sp>
          <p:nvSpPr>
            <p:cNvPr id="82" name="Rectangle 4"/>
            <p:cNvSpPr/>
            <p:nvPr/>
          </p:nvSpPr>
          <p:spPr>
            <a:xfrm>
              <a:off x="4587874" y="4182406"/>
              <a:ext cx="1143000" cy="381656"/>
            </a:xfrm>
            <a:prstGeom prst="rect">
              <a:avLst/>
            </a:prstGeom>
            <a:noFill/>
            <a:ln w="12700">
              <a:noFill/>
              <a:prstDash val="sysDot"/>
            </a:ln>
          </p:spPr>
          <p:txBody>
            <a:bodyPr wrap="none" lIns="91331" tIns="45702" rIns="136999" bIns="45702" anchor="ctr" anchorCtr="0">
              <a:noAutofit/>
            </a:bodyPr>
            <a:lstStyle/>
            <a:p>
              <a:pPr marL="57422" algn="ctr" defTabSz="89358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00" b="1" kern="0" dirty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Core switch</a:t>
              </a:r>
            </a:p>
          </p:txBody>
        </p:sp>
        <p:sp>
          <p:nvSpPr>
            <p:cNvPr id="83" name="Rectangle 4"/>
            <p:cNvSpPr/>
            <p:nvPr/>
          </p:nvSpPr>
          <p:spPr>
            <a:xfrm>
              <a:off x="6264274" y="3040062"/>
              <a:ext cx="1143000" cy="381656"/>
            </a:xfrm>
            <a:prstGeom prst="rect">
              <a:avLst/>
            </a:prstGeom>
            <a:noFill/>
            <a:ln w="12700">
              <a:noFill/>
              <a:prstDash val="sysDot"/>
            </a:ln>
          </p:spPr>
          <p:txBody>
            <a:bodyPr wrap="none" lIns="91331" tIns="45702" rIns="136999" bIns="45702" anchor="ctr" anchorCtr="0">
              <a:noAutofit/>
            </a:bodyPr>
            <a:lstStyle/>
            <a:p>
              <a:pPr marL="57422" algn="ctr" defTabSz="89358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00" b="1" kern="0" dirty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witch</a:t>
              </a:r>
            </a:p>
          </p:txBody>
        </p:sp>
        <p:sp>
          <p:nvSpPr>
            <p:cNvPr id="84" name="Rectangle 4"/>
            <p:cNvSpPr/>
            <p:nvPr/>
          </p:nvSpPr>
          <p:spPr>
            <a:xfrm>
              <a:off x="6111874" y="4868206"/>
              <a:ext cx="1143000" cy="381656"/>
            </a:xfrm>
            <a:prstGeom prst="rect">
              <a:avLst/>
            </a:prstGeom>
            <a:noFill/>
            <a:ln w="12700">
              <a:noFill/>
              <a:prstDash val="sysDot"/>
            </a:ln>
          </p:spPr>
          <p:txBody>
            <a:bodyPr wrap="none" lIns="91331" tIns="45702" rIns="136999" bIns="45702" anchor="ctr" anchorCtr="0">
              <a:noAutofit/>
            </a:bodyPr>
            <a:lstStyle/>
            <a:p>
              <a:pPr marL="57422" algn="ctr" defTabSz="89358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00" b="1" kern="0" dirty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Internet</a:t>
              </a:r>
            </a:p>
          </p:txBody>
        </p:sp>
        <p:pic>
          <p:nvPicPr>
            <p:cNvPr id="85" name="Picture 2" descr="W:\Open Engagements\Productivity\MS-Unified Communications\#1601 BizProd MOD Team Core Content Work\New Iconography\Words\Draft\061312_Word_Icons\Shield_061312_white-16.pn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07074" y="3954462"/>
              <a:ext cx="457200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5" name="组合 94"/>
          <p:cNvGrpSpPr/>
          <p:nvPr/>
        </p:nvGrpSpPr>
        <p:grpSpPr>
          <a:xfrm>
            <a:off x="3428206" y="1600200"/>
            <a:ext cx="4183567" cy="3621913"/>
            <a:chOff x="3497398" y="1632045"/>
            <a:chExt cx="4268013" cy="3694017"/>
          </a:xfrm>
        </p:grpSpPr>
        <p:grpSp>
          <p:nvGrpSpPr>
            <p:cNvPr id="96" name="组合 95"/>
            <p:cNvGrpSpPr/>
            <p:nvPr/>
          </p:nvGrpSpPr>
          <p:grpSpPr>
            <a:xfrm>
              <a:off x="4313237" y="2034222"/>
              <a:ext cx="2819400" cy="3291840"/>
              <a:chOff x="4313237" y="2049462"/>
              <a:chExt cx="2819400" cy="3291840"/>
            </a:xfrm>
          </p:grpSpPr>
          <p:sp>
            <p:nvSpPr>
              <p:cNvPr id="98" name="Rectangle 18"/>
              <p:cNvSpPr/>
              <p:nvPr/>
            </p:nvSpPr>
            <p:spPr bwMode="auto">
              <a:xfrm>
                <a:off x="4313237" y="2049462"/>
                <a:ext cx="2819400" cy="3291840"/>
              </a:xfrm>
              <a:prstGeom prst="rect">
                <a:avLst/>
              </a:prstGeom>
              <a:solidFill>
                <a:srgbClr val="FFFFFF">
                  <a:lumMod val="85000"/>
                </a:srgbClr>
              </a:solidFill>
              <a:ln w="1079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6612" rIns="0" bIns="46612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57422" algn="ctr" defTabSz="8935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nl-NL" sz="1500" kern="0" dirty="0" smtClean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DSS-M</a:t>
                </a:r>
                <a:endParaRPr lang="nl-NL" sz="2000" kern="0" dirty="0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  <a:p>
                <a:pPr algn="ctr" defTabSz="91208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nl-NL" sz="2000" kern="0" dirty="0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  <a:p>
                <a:pPr algn="ctr" defTabSz="91208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nl-NL" sz="2000" kern="0" dirty="0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  <a:p>
                <a:pPr algn="ctr" defTabSz="91208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nl-NL" sz="2000" kern="0" dirty="0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  <a:p>
                <a:pPr algn="ctr" defTabSz="91208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nl-NL" sz="2000" kern="0" dirty="0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99" name="图片 98" descr="未标题-25.png"/>
              <p:cNvPicPr>
                <a:picLocks noChangeAspect="1"/>
              </p:cNvPicPr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4969386" y="2283210"/>
                <a:ext cx="1538562" cy="524841"/>
              </a:xfrm>
              <a:prstGeom prst="rect">
                <a:avLst/>
              </a:prstGeom>
            </p:spPr>
          </p:pic>
        </p:grpSp>
        <p:sp>
          <p:nvSpPr>
            <p:cNvPr id="97" name="Rectangle 4"/>
            <p:cNvSpPr/>
            <p:nvPr/>
          </p:nvSpPr>
          <p:spPr>
            <a:xfrm>
              <a:off x="3497398" y="1632045"/>
              <a:ext cx="4268013" cy="381656"/>
            </a:xfrm>
            <a:prstGeom prst="rect">
              <a:avLst/>
            </a:prstGeom>
            <a:noFill/>
            <a:ln w="12700">
              <a:noFill/>
              <a:prstDash val="sysDot"/>
            </a:ln>
          </p:spPr>
          <p:txBody>
            <a:bodyPr wrap="none" lIns="91331" tIns="45702" rIns="136999" bIns="45702" anchor="ctr" anchorCtr="0">
              <a:noAutofit/>
            </a:bodyPr>
            <a:lstStyle/>
            <a:p>
              <a:pPr marL="57422" algn="ctr" defTabSz="89358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 kern="0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SS-M </a:t>
              </a:r>
              <a:r>
                <a:rPr lang="en-US" altLang="zh-CN" sz="2000" b="1" kern="0" dirty="0" err="1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cho</a:t>
              </a:r>
              <a:r>
                <a:rPr lang="en-US" altLang="zh-CN" sz="2000" b="1" kern="0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2000" b="1" kern="0" dirty="0" err="1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trung</a:t>
              </a:r>
              <a:r>
                <a:rPr lang="en-US" altLang="zh-CN" sz="2000" b="1" kern="0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2000" b="1" kern="0" dirty="0" err="1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tâm</a:t>
              </a:r>
              <a:r>
                <a:rPr lang="en-US" altLang="zh-CN" sz="2000" b="1" kern="0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2000" b="1" kern="0" dirty="0" err="1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quản</a:t>
              </a:r>
              <a:r>
                <a:rPr lang="en-US" altLang="zh-CN" sz="2000" b="1" kern="0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2000" b="1" kern="0" dirty="0" err="1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lý</a:t>
              </a:r>
              <a:endParaRPr lang="en-US" sz="2000" b="1" kern="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100" name="Left Brace 11"/>
          <p:cNvSpPr/>
          <p:nvPr/>
        </p:nvSpPr>
        <p:spPr>
          <a:xfrm rot="16200000">
            <a:off x="2131840" y="4402179"/>
            <a:ext cx="216024" cy="3022219"/>
          </a:xfrm>
          <a:prstGeom prst="leftBrace">
            <a:avLst/>
          </a:prstGeom>
          <a:noFill/>
          <a:ln w="28575">
            <a:solidFill>
              <a:srgbClr val="0070C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9462" tIns="44732" rIns="89462" bIns="44732" rtlCol="0" anchor="ctr"/>
          <a:lstStyle/>
          <a:p>
            <a:pPr algn="ctr" defTabSz="1170006"/>
            <a:endParaRPr lang="nl-NL" sz="240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1" name="Left Brace 11"/>
          <p:cNvSpPr/>
          <p:nvPr/>
        </p:nvSpPr>
        <p:spPr>
          <a:xfrm rot="16200000">
            <a:off x="9691092" y="3637768"/>
            <a:ext cx="217561" cy="4552565"/>
          </a:xfrm>
          <a:prstGeom prst="leftBrace">
            <a:avLst/>
          </a:prstGeom>
          <a:noFill/>
          <a:ln w="28575">
            <a:solidFill>
              <a:srgbClr val="0070C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9462" tIns="44732" rIns="89462" bIns="44732" rtlCol="0" anchor="ctr"/>
          <a:lstStyle/>
          <a:p>
            <a:pPr algn="ctr" defTabSz="1170006"/>
            <a:endParaRPr lang="nl-NL" sz="240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2" name="Rectangle 4"/>
          <p:cNvSpPr/>
          <p:nvPr/>
        </p:nvSpPr>
        <p:spPr>
          <a:xfrm>
            <a:off x="7860477" y="6165322"/>
            <a:ext cx="4183567" cy="374207"/>
          </a:xfrm>
          <a:prstGeom prst="rect">
            <a:avLst/>
          </a:prstGeom>
          <a:noFill/>
          <a:ln w="12700">
            <a:noFill/>
            <a:prstDash val="sysDot"/>
          </a:ln>
        </p:spPr>
        <p:txBody>
          <a:bodyPr wrap="none" lIns="91202" tIns="45638" rIns="136802" bIns="45638" anchor="ctr" anchorCtr="0">
            <a:noAutofit/>
          </a:bodyPr>
          <a:lstStyle/>
          <a:p>
            <a:pPr marL="57422" algn="ctr" defTabSz="89358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vices</a:t>
            </a:r>
          </a:p>
        </p:txBody>
      </p:sp>
      <p:sp>
        <p:nvSpPr>
          <p:cNvPr id="103" name="Rectangle 4"/>
          <p:cNvSpPr/>
          <p:nvPr/>
        </p:nvSpPr>
        <p:spPr>
          <a:xfrm>
            <a:off x="8183444" y="6065978"/>
            <a:ext cx="4183567" cy="374207"/>
          </a:xfrm>
          <a:prstGeom prst="rect">
            <a:avLst/>
          </a:prstGeom>
          <a:noFill/>
          <a:ln w="12700">
            <a:noFill/>
            <a:prstDash val="sysDot"/>
          </a:ln>
        </p:spPr>
        <p:txBody>
          <a:bodyPr wrap="none" lIns="91202" tIns="45638" rIns="136802" bIns="45638" anchor="ctr" anchorCtr="0">
            <a:noAutofit/>
          </a:bodyPr>
          <a:lstStyle/>
          <a:p>
            <a:pPr marL="57422" algn="ctr" defTabSz="89358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200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ehicle/</a:t>
            </a:r>
            <a:r>
              <a:rPr lang="en-US" altLang="zh-CN" sz="2000" b="1" kern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erminal</a:t>
            </a:r>
            <a:r>
              <a:rPr lang="en-US" sz="2000" b="1" kern="0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ices</a:t>
            </a:r>
            <a:endParaRPr lang="en-US" sz="2000" b="1" kern="0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4" name="Rectangle 4"/>
          <p:cNvSpPr/>
          <p:nvPr/>
        </p:nvSpPr>
        <p:spPr>
          <a:xfrm>
            <a:off x="406574" y="6021306"/>
            <a:ext cx="4183567" cy="374207"/>
          </a:xfrm>
          <a:prstGeom prst="rect">
            <a:avLst/>
          </a:prstGeom>
          <a:noFill/>
          <a:ln w="12700">
            <a:noFill/>
            <a:prstDash val="sysDot"/>
          </a:ln>
        </p:spPr>
        <p:txBody>
          <a:bodyPr wrap="none" lIns="91202" tIns="45638" rIns="136802" bIns="45638" anchor="ctr" anchorCtr="0">
            <a:noAutofit/>
          </a:bodyPr>
          <a:lstStyle/>
          <a:p>
            <a:pPr marL="57422" algn="ctr" defTabSz="89358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20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anage </a:t>
            </a:r>
            <a:r>
              <a:rPr lang="en-US" altLang="zh-CN" sz="2000" b="1" kern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entre</a:t>
            </a:r>
            <a:r>
              <a:rPr lang="en-US" sz="2000" b="1" kern="0" dirty="0" err="1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ices</a:t>
            </a:r>
            <a:endParaRPr lang="en-US" sz="2000" b="1" kern="0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135" name="组合 134"/>
          <p:cNvGrpSpPr/>
          <p:nvPr/>
        </p:nvGrpSpPr>
        <p:grpSpPr>
          <a:xfrm>
            <a:off x="1097360" y="2738314"/>
            <a:ext cx="2952826" cy="2311697"/>
            <a:chOff x="438341" y="2574314"/>
            <a:chExt cx="3422351" cy="2706858"/>
          </a:xfrm>
        </p:grpSpPr>
        <p:grpSp>
          <p:nvGrpSpPr>
            <p:cNvPr id="115" name="组合 114"/>
            <p:cNvGrpSpPr/>
            <p:nvPr/>
          </p:nvGrpSpPr>
          <p:grpSpPr>
            <a:xfrm>
              <a:off x="2148872" y="3696316"/>
              <a:ext cx="1711820" cy="1555017"/>
              <a:chOff x="639115" y="-2011482"/>
              <a:chExt cx="1711820" cy="1555017"/>
            </a:xfrm>
          </p:grpSpPr>
          <p:sp>
            <p:nvSpPr>
              <p:cNvPr id="112" name="Rectangle 48"/>
              <p:cNvSpPr>
                <a:spLocks noChangeArrowheads="1"/>
              </p:cNvSpPr>
              <p:nvPr/>
            </p:nvSpPr>
            <p:spPr bwMode="auto">
              <a:xfrm>
                <a:off x="639115" y="-804069"/>
                <a:ext cx="1711820" cy="34760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65386" tIns="32694" rIns="65386" bIns="32694" anchor="ctr">
                <a:spAutoFit/>
              </a:bodyPr>
              <a:lstStyle/>
              <a:p>
                <a:r>
                  <a:rPr lang="en-US" altLang="zh-CN" sz="1500" dirty="0">
                    <a:solidFill>
                      <a:srgbClr val="000000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DHL460UT(S)-E</a:t>
                </a:r>
              </a:p>
            </p:txBody>
          </p:sp>
          <p:pic>
            <p:nvPicPr>
              <p:cNvPr id="108" name="Picture 9"/>
              <p:cNvPicPr>
                <a:picLocks noChangeAspect="1" noChangeArrowheads="1"/>
              </p:cNvPicPr>
              <p:nvPr/>
            </p:nvPicPr>
            <p:blipFill>
              <a:blip r:embed="rId16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2720" y="-2011482"/>
                <a:ext cx="1057391" cy="14574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16" name="组合 115"/>
            <p:cNvGrpSpPr/>
            <p:nvPr/>
          </p:nvGrpSpPr>
          <p:grpSpPr>
            <a:xfrm>
              <a:off x="438341" y="4360284"/>
              <a:ext cx="1322387" cy="920888"/>
              <a:chOff x="-1812778" y="-1951180"/>
              <a:chExt cx="1495611" cy="1039617"/>
            </a:xfrm>
          </p:grpSpPr>
          <p:pic>
            <p:nvPicPr>
              <p:cNvPr id="106" name="Picture 11"/>
              <p:cNvPicPr>
                <a:picLocks noChangeAspect="1" noChangeArrowheads="1"/>
              </p:cNvPicPr>
              <p:nvPr/>
            </p:nvPicPr>
            <p:blipFill>
              <a:blip r:embed="rId17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812778" y="-1951180"/>
                <a:ext cx="1495611" cy="5522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1" name="TextBox 110"/>
              <p:cNvSpPr txBox="1"/>
              <p:nvPr/>
            </p:nvSpPr>
            <p:spPr>
              <a:xfrm>
                <a:off x="-1396813" y="-1338757"/>
                <a:ext cx="997072" cy="4271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500" dirty="0" smtClean="0">
                    <a:solidFill>
                      <a:srgbClr val="000000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M70</a:t>
                </a:r>
                <a:endParaRPr lang="zh-CN" altLang="en-US" sz="1500" dirty="0">
                  <a:solidFill>
                    <a:srgbClr val="000000"/>
                  </a:solidFill>
                  <a:latin typeface="Tahoma" pitchFamily="34" charset="0"/>
                  <a:ea typeface="Microsoft YaHei UI" panose="020B0503020204020204" pitchFamily="34" charset="-122"/>
                  <a:cs typeface="Tahoma" pitchFamily="34" charset="0"/>
                </a:endParaRPr>
              </a:p>
            </p:txBody>
          </p:sp>
        </p:grpSp>
        <p:cxnSp>
          <p:nvCxnSpPr>
            <p:cNvPr id="124" name="肘形连接符 123"/>
            <p:cNvCxnSpPr/>
            <p:nvPr/>
          </p:nvCxnSpPr>
          <p:spPr>
            <a:xfrm flipV="1">
              <a:off x="1099536" y="3643710"/>
              <a:ext cx="2673160" cy="767968"/>
            </a:xfrm>
            <a:prstGeom prst="bentConnector3">
              <a:avLst>
                <a:gd name="adj1" fmla="val 205"/>
              </a:avLst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直接连接符 117"/>
            <p:cNvCxnSpPr>
              <a:stCxn id="106" idx="3"/>
            </p:cNvCxnSpPr>
            <p:nvPr/>
          </p:nvCxnSpPr>
          <p:spPr>
            <a:xfrm>
              <a:off x="1760730" y="4604878"/>
              <a:ext cx="822375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直接连接符 125"/>
            <p:cNvCxnSpPr/>
            <p:nvPr/>
          </p:nvCxnSpPr>
          <p:spPr>
            <a:xfrm flipH="1">
              <a:off x="1557251" y="2574314"/>
              <a:ext cx="9879" cy="1142718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32" name="Picture 2"/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BEBA8EAE-BF5A-486C-A8C5-ECC9F3942E4B}">
                  <a14:imgProps xmlns:a14="http://schemas.microsoft.com/office/drawing/2010/main" xmlns="">
                    <a14:imgLayer r:embed="rId19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5725" y="3269438"/>
              <a:ext cx="758442" cy="6195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7" name="标题 1"/>
          <p:cNvSpPr txBox="1">
            <a:spLocks/>
          </p:cNvSpPr>
          <p:nvPr/>
        </p:nvSpPr>
        <p:spPr>
          <a:xfrm>
            <a:off x="95195" y="198858"/>
            <a:ext cx="11098392" cy="56348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en-US" altLang="zh-CN" sz="3200" b="1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Ơ ĐỒ CẤU TRÚC HỆ THỐNG</a:t>
            </a:r>
            <a:endParaRPr lang="zh-CN" altLang="en-US" sz="3200" b="1" dirty="0">
              <a:solidFill>
                <a:srgbClr val="000000"/>
              </a:solidFill>
              <a:latin typeface="Tahoma" pitchFamily="34" charset="0"/>
              <a:ea typeface="微软雅黑" pitchFamily="34" charset="-122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6359013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16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1892E-6 -6.53061E-6 L -0.28174 -6.53061E-6 " pathEditMode="relative" ptsTypes="AA">
                                      <p:cBhvr>
                                        <p:cTn id="27" dur="2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2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2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2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2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2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000"/>
                            </p:stCondLst>
                            <p:childTnLst>
                              <p:par>
                                <p:cTn id="5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5" grpId="0" animBg="1"/>
      <p:bldP spid="58" grpId="0" animBg="1"/>
      <p:bldP spid="59" grpId="0"/>
      <p:bldP spid="60" grpId="0"/>
      <p:bldP spid="61" grpId="0"/>
      <p:bldP spid="6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图片 7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33" y="1720958"/>
            <a:ext cx="12135047" cy="2392976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35865" y="5271124"/>
            <a:ext cx="1738958" cy="853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" name="矩形 62"/>
          <p:cNvSpPr/>
          <p:nvPr/>
        </p:nvSpPr>
        <p:spPr>
          <a:xfrm>
            <a:off x="2073190" y="396839"/>
            <a:ext cx="4098216" cy="79992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8" rIns="91398" bIns="45698" rtlCol="0" anchor="ctr"/>
          <a:lstStyle/>
          <a:p>
            <a:pPr algn="ctr"/>
            <a:endParaRPr lang="zh-CN" altLang="en-US" sz="19900" b="1" dirty="0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4" name="矩形 63"/>
          <p:cNvSpPr/>
          <p:nvPr/>
        </p:nvSpPr>
        <p:spPr>
          <a:xfrm>
            <a:off x="367503" y="396839"/>
            <a:ext cx="1698056" cy="79992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8" rIns="91398" bIns="45698"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5" name="文本框 24"/>
          <p:cNvSpPr txBox="1"/>
          <p:nvPr/>
        </p:nvSpPr>
        <p:spPr>
          <a:xfrm>
            <a:off x="456406" y="381000"/>
            <a:ext cx="1105993" cy="830791"/>
          </a:xfrm>
          <a:prstGeom prst="rect">
            <a:avLst/>
          </a:prstGeom>
          <a:noFill/>
        </p:spPr>
        <p:txBody>
          <a:bodyPr wrap="none" lIns="91242" tIns="45618" rIns="91242" bIns="45618" rtlCol="0">
            <a:spAutoFit/>
          </a:bodyPr>
          <a:lstStyle/>
          <a:p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ẢN </a:t>
            </a:r>
          </a:p>
          <a:p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ẨM</a:t>
            </a:r>
            <a:endParaRPr lang="zh-CN" altLang="en-US" sz="2400" b="1" dirty="0">
              <a:solidFill>
                <a:prstClr val="white"/>
              </a:solidFill>
              <a:latin typeface="Tahoma" pitchFamily="34" charset="0"/>
              <a:ea typeface="微软雅黑" panose="020B0503020204020204" pitchFamily="34" charset="-122"/>
              <a:cs typeface="Tahoma" pitchFamily="34" charset="0"/>
            </a:endParaRPr>
          </a:p>
        </p:txBody>
      </p:sp>
      <p:sp>
        <p:nvSpPr>
          <p:cNvPr id="66" name="文本框 25"/>
          <p:cNvSpPr txBox="1"/>
          <p:nvPr/>
        </p:nvSpPr>
        <p:spPr>
          <a:xfrm>
            <a:off x="7238206" y="4800600"/>
            <a:ext cx="2260034" cy="553792"/>
          </a:xfrm>
          <a:prstGeom prst="rect">
            <a:avLst/>
          </a:prstGeom>
          <a:noFill/>
        </p:spPr>
        <p:txBody>
          <a:bodyPr wrap="square" lIns="91242" tIns="45618" rIns="91242" bIns="45618" rtlCol="0">
            <a:spAutoFit/>
          </a:bodyPr>
          <a:lstStyle/>
          <a:p>
            <a:pPr algn="ctr"/>
            <a:r>
              <a:rPr lang="en-US" altLang="zh-CN" sz="15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iều</a:t>
            </a:r>
            <a:r>
              <a:rPr lang="en-US" altLang="zh-CN" sz="15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5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hiển</a:t>
            </a:r>
            <a:r>
              <a:rPr lang="en-US" altLang="zh-CN" sz="15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Video Wall</a:t>
            </a:r>
            <a:endParaRPr lang="zh-CN" altLang="en-US" sz="1500" b="1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7" name="矩形 66"/>
          <p:cNvSpPr/>
          <p:nvPr/>
        </p:nvSpPr>
        <p:spPr>
          <a:xfrm>
            <a:off x="959049" y="5958057"/>
            <a:ext cx="1465243" cy="37797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8" rIns="91398" bIns="45698" rtlCol="0" anchor="ctr"/>
          <a:lstStyle/>
          <a:p>
            <a:pPr algn="ctr"/>
            <a:r>
              <a:rPr lang="en-US" altLang="zh-CN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SS7016-M</a:t>
            </a:r>
            <a:endParaRPr lang="zh-CN" altLang="en-US" dirty="0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8" name="流程图: 联系 67"/>
          <p:cNvSpPr/>
          <p:nvPr/>
        </p:nvSpPr>
        <p:spPr bwMode="auto">
          <a:xfrm>
            <a:off x="3043943" y="5260298"/>
            <a:ext cx="736569" cy="711284"/>
          </a:xfrm>
          <a:prstGeom prst="flowChartConnector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8" rIns="91398" bIns="45698" anchor="ctr"/>
          <a:lstStyle/>
          <a:p>
            <a:pPr algn="ctr">
              <a:defRPr/>
            </a:pPr>
            <a:r>
              <a:rPr lang="en-US" altLang="zh-CN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r</a:t>
            </a:r>
            <a:endParaRPr lang="zh-CN" altLang="en-US" dirty="0">
              <a:solidFill>
                <a:prstClr val="white"/>
              </a:solidFill>
              <a:latin typeface="Tahoma" pitchFamily="34" charset="0"/>
              <a:ea typeface="Adobe 繁黑體 Std B" pitchFamily="34" charset="-128"/>
              <a:cs typeface="Tahoma" pitchFamily="34" charset="0"/>
            </a:endParaRPr>
          </a:p>
        </p:txBody>
      </p:sp>
      <p:pic>
        <p:nvPicPr>
          <p:cNvPr id="69" name="Picture 2" descr="E:\13 click here\work temp\2.datasheet\DSS7016-M\图像 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1767" y="5058124"/>
            <a:ext cx="2142662" cy="1115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矩形 54"/>
          <p:cNvSpPr/>
          <p:nvPr/>
        </p:nvSpPr>
        <p:spPr>
          <a:xfrm>
            <a:off x="7590648" y="6047862"/>
            <a:ext cx="1465243" cy="37797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8" rIns="91398" bIns="45698" rtlCol="0" anchor="ctr"/>
          <a:lstStyle/>
          <a:p>
            <a:pPr algn="ctr"/>
            <a:r>
              <a:rPr lang="en-US" altLang="zh-CN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70-4U</a:t>
            </a:r>
            <a:endParaRPr lang="zh-CN" altLang="en-US" dirty="0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2" name="矩形 61"/>
          <p:cNvSpPr/>
          <p:nvPr/>
        </p:nvSpPr>
        <p:spPr>
          <a:xfrm>
            <a:off x="5285595" y="4113934"/>
            <a:ext cx="1701321" cy="39590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8" rIns="91398" bIns="45698" rtlCol="0" anchor="ctr"/>
          <a:lstStyle/>
          <a:p>
            <a:pPr algn="ctr"/>
            <a:r>
              <a:rPr lang="en-US" altLang="zh-CN" sz="15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HL460UT(S)-E</a:t>
            </a:r>
          </a:p>
        </p:txBody>
      </p:sp>
      <p:sp>
        <p:nvSpPr>
          <p:cNvPr id="3" name="矩形 2"/>
          <p:cNvSpPr/>
          <p:nvPr/>
        </p:nvSpPr>
        <p:spPr>
          <a:xfrm>
            <a:off x="5455359" y="1317857"/>
            <a:ext cx="1415688" cy="369287"/>
          </a:xfrm>
          <a:prstGeom prst="rect">
            <a:avLst/>
          </a:prstGeom>
        </p:spPr>
        <p:txBody>
          <a:bodyPr wrap="none" lIns="91398" tIns="45698" rIns="91398" bIns="45698">
            <a:spAutoFit/>
          </a:bodyPr>
          <a:lstStyle/>
          <a:p>
            <a:pPr algn="ctr"/>
            <a:r>
              <a:rPr lang="en-US" altLang="zh-CN" sz="18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ideo Wall</a:t>
            </a:r>
            <a:endParaRPr lang="zh-CN" altLang="en-US" sz="1800" b="1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2424292" y="4509837"/>
            <a:ext cx="2068110" cy="323121"/>
          </a:xfrm>
          <a:prstGeom prst="rect">
            <a:avLst/>
          </a:prstGeom>
        </p:spPr>
        <p:txBody>
          <a:bodyPr wrap="none" lIns="91398" tIns="45698" rIns="91398" bIns="45698">
            <a:spAutoFit/>
          </a:bodyPr>
          <a:lstStyle/>
          <a:p>
            <a:r>
              <a:rPr lang="en-US" altLang="zh-CN" sz="15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ung</a:t>
            </a:r>
            <a:r>
              <a:rPr lang="en-US" altLang="zh-CN" sz="15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5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âm</a:t>
            </a:r>
            <a:r>
              <a:rPr lang="en-US" altLang="zh-CN" sz="15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5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Quản</a:t>
            </a:r>
            <a:r>
              <a:rPr lang="en-US" altLang="zh-CN" sz="15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5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ý</a:t>
            </a:r>
            <a:endParaRPr lang="zh-CN" altLang="en-US" sz="1500" b="1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8" name="文本框 24"/>
          <p:cNvSpPr txBox="1"/>
          <p:nvPr/>
        </p:nvSpPr>
        <p:spPr>
          <a:xfrm>
            <a:off x="2073190" y="566072"/>
            <a:ext cx="3892012" cy="461459"/>
          </a:xfrm>
          <a:prstGeom prst="rect">
            <a:avLst/>
          </a:prstGeom>
          <a:noFill/>
        </p:spPr>
        <p:txBody>
          <a:bodyPr wrap="none" lIns="91242" tIns="45618" rIns="91242" bIns="45618" rtlCol="0">
            <a:spAutoFit/>
          </a:bodyPr>
          <a:lstStyle/>
          <a:p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UNG TÂM KIỂM SOÁT</a:t>
            </a:r>
            <a:endParaRPr lang="zh-CN" altLang="en-US" sz="2400" b="1" dirty="0">
              <a:solidFill>
                <a:prstClr val="white"/>
              </a:solidFill>
              <a:latin typeface="Tahoma" pitchFamily="34" charset="0"/>
              <a:ea typeface="微软雅黑" panose="020B0503020204020204" pitchFamily="34" charset="-122"/>
              <a:cs typeface="Tahoma" pitchFamily="34" charset="0"/>
            </a:endParaRPr>
          </a:p>
        </p:txBody>
      </p:sp>
      <p:pic>
        <p:nvPicPr>
          <p:cNvPr id="71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069703" y="5407977"/>
            <a:ext cx="2431784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" name="矩形 71"/>
          <p:cNvSpPr/>
          <p:nvPr/>
        </p:nvSpPr>
        <p:spPr>
          <a:xfrm>
            <a:off x="4552973" y="5958057"/>
            <a:ext cx="1465243" cy="37797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8" rIns="91398" bIns="45698" rtlCol="0" anchor="ctr"/>
          <a:lstStyle/>
          <a:p>
            <a:pPr algn="ctr"/>
            <a:r>
              <a:rPr lang="en-US" altLang="zh-CN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SS4004-M</a:t>
            </a:r>
            <a:endParaRPr lang="zh-CN" altLang="en-US" dirty="0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4" name="矩形 73"/>
          <p:cNvSpPr/>
          <p:nvPr/>
        </p:nvSpPr>
        <p:spPr>
          <a:xfrm>
            <a:off x="4418806" y="4876800"/>
            <a:ext cx="1827660" cy="323121"/>
          </a:xfrm>
          <a:prstGeom prst="rect">
            <a:avLst/>
          </a:prstGeom>
        </p:spPr>
        <p:txBody>
          <a:bodyPr wrap="none" lIns="91398" tIns="45698" rIns="91398" bIns="45698">
            <a:spAutoFit/>
          </a:bodyPr>
          <a:lstStyle/>
          <a:p>
            <a:r>
              <a:rPr lang="en-US" altLang="zh-CN" sz="15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0 </a:t>
            </a:r>
            <a:r>
              <a:rPr lang="en-US" altLang="zh-CN" sz="15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ương</a:t>
            </a:r>
            <a:r>
              <a:rPr lang="en-US" altLang="zh-CN" sz="15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5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iện</a:t>
            </a:r>
            <a:endParaRPr lang="zh-CN" altLang="en-US" sz="1500" b="1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761206" y="4876800"/>
            <a:ext cx="1827660" cy="323121"/>
          </a:xfrm>
          <a:prstGeom prst="rect">
            <a:avLst/>
          </a:prstGeom>
        </p:spPr>
        <p:txBody>
          <a:bodyPr wrap="none" lIns="91398" tIns="45698" rIns="91398" bIns="45698">
            <a:spAutoFit/>
          </a:bodyPr>
          <a:lstStyle/>
          <a:p>
            <a:r>
              <a:rPr lang="en-US" altLang="zh-CN" sz="15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500 </a:t>
            </a:r>
            <a:r>
              <a:rPr lang="en-US" altLang="zh-CN" sz="15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ương</a:t>
            </a:r>
            <a:r>
              <a:rPr lang="en-US" altLang="zh-CN" sz="15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5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iện</a:t>
            </a:r>
            <a:endParaRPr lang="zh-CN" altLang="en-US" sz="1500" b="1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386384" y="4230547"/>
            <a:ext cx="1057630" cy="853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420223" y="4987442"/>
            <a:ext cx="1057630" cy="853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420223" y="5747099"/>
            <a:ext cx="1057630" cy="853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直接连接符 5"/>
          <p:cNvCxnSpPr>
            <a:endCxn id="1033" idx="1"/>
          </p:cNvCxnSpPr>
          <p:nvPr/>
        </p:nvCxnSpPr>
        <p:spPr>
          <a:xfrm flipV="1">
            <a:off x="9435361" y="4657205"/>
            <a:ext cx="951023" cy="7507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>
            <a:endCxn id="78" idx="1"/>
          </p:cNvCxnSpPr>
          <p:nvPr/>
        </p:nvCxnSpPr>
        <p:spPr>
          <a:xfrm flipV="1">
            <a:off x="9435361" y="5414100"/>
            <a:ext cx="984862" cy="2018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>
            <a:endCxn id="79" idx="1"/>
          </p:cNvCxnSpPr>
          <p:nvPr/>
        </p:nvCxnSpPr>
        <p:spPr>
          <a:xfrm>
            <a:off x="9435361" y="5747099"/>
            <a:ext cx="984862" cy="4266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>
            <a:endCxn id="66" idx="0"/>
          </p:cNvCxnSpPr>
          <p:nvPr/>
        </p:nvCxnSpPr>
        <p:spPr>
          <a:xfrm rot="5400000">
            <a:off x="8059270" y="4491646"/>
            <a:ext cx="617907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>
            <a:endCxn id="1026" idx="1"/>
          </p:cNvCxnSpPr>
          <p:nvPr/>
        </p:nvCxnSpPr>
        <p:spPr>
          <a:xfrm>
            <a:off x="6670543" y="5697967"/>
            <a:ext cx="76532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269404147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圆角矩形 84"/>
          <p:cNvSpPr/>
          <p:nvPr/>
        </p:nvSpPr>
        <p:spPr bwMode="auto">
          <a:xfrm>
            <a:off x="5524296" y="642754"/>
            <a:ext cx="671281" cy="337624"/>
          </a:xfrm>
          <a:prstGeom prst="round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</p:spPr>
        <p:txBody>
          <a:bodyPr wrap="square" lIns="137172" tIns="34294" rIns="68586" bIns="68586" rtlCol="0" anchor="b" anchorCtr="0"/>
          <a:lstStyle/>
          <a:p>
            <a:pPr algn="ctr" defTabSz="912119" fontAlgn="base">
              <a:spcBef>
                <a:spcPct val="0"/>
              </a:spcBef>
              <a:spcAft>
                <a:spcPct val="0"/>
              </a:spcAft>
            </a:pPr>
            <a:endParaRPr lang="en-US" sz="1600" spc="-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76" name="图片 75" descr="MCVR510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74909" y="3501008"/>
            <a:ext cx="1720097" cy="896244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2" descr="C:\Users\26457\Desktop\公交图片素材\7578295_220613502000_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2276" r="7295"/>
          <a:stretch/>
        </p:blipFill>
        <p:spPr bwMode="auto">
          <a:xfrm>
            <a:off x="8992191" y="7189"/>
            <a:ext cx="3223702" cy="6850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C:\Documents and Settings\10652\桌面\DSC_3241.jpg.t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51789" y="2348528"/>
            <a:ext cx="1277938" cy="805315"/>
          </a:xfrm>
          <a:prstGeom prst="rect">
            <a:avLst/>
          </a:prstGeom>
          <a:noFill/>
        </p:spPr>
      </p:pic>
      <p:grpSp>
        <p:nvGrpSpPr>
          <p:cNvPr id="20" name="组合 19"/>
          <p:cNvGrpSpPr/>
          <p:nvPr/>
        </p:nvGrpSpPr>
        <p:grpSpPr>
          <a:xfrm>
            <a:off x="587279" y="2001714"/>
            <a:ext cx="1800199" cy="1152128"/>
            <a:chOff x="395536" y="3651870"/>
            <a:chExt cx="1800199" cy="1152128"/>
          </a:xfrm>
        </p:grpSpPr>
        <p:sp>
          <p:nvSpPr>
            <p:cNvPr id="21" name="矩形 20"/>
            <p:cNvSpPr/>
            <p:nvPr/>
          </p:nvSpPr>
          <p:spPr>
            <a:xfrm>
              <a:off x="395536" y="3651870"/>
              <a:ext cx="1728192" cy="1152128"/>
            </a:xfrm>
            <a:prstGeom prst="rect">
              <a:avLst/>
            </a:prstGeom>
            <a:noFill/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395536" y="3651870"/>
              <a:ext cx="1728192" cy="34864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35994" y="3687690"/>
              <a:ext cx="155974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b="1" dirty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VR0404ME-SC</a:t>
              </a:r>
              <a:endParaRPr lang="zh-CN" altLang="en-US" sz="1200" b="1" dirty="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4547707" y="2001714"/>
            <a:ext cx="1765562" cy="1152128"/>
            <a:chOff x="6132939" y="1705741"/>
            <a:chExt cx="1765562" cy="1152128"/>
          </a:xfrm>
        </p:grpSpPr>
        <p:pic>
          <p:nvPicPr>
            <p:cNvPr id="25" name="图片 24" descr="E:\wuwenchong\20120105优先\产品图片\MF照片\DVRXX04MF正面副本.jpg"/>
            <p:cNvPicPr/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483581" y="2149674"/>
              <a:ext cx="1101648" cy="5744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6" name="矩形 25"/>
            <p:cNvSpPr/>
            <p:nvPr/>
          </p:nvSpPr>
          <p:spPr>
            <a:xfrm>
              <a:off x="6132939" y="1705741"/>
              <a:ext cx="1728192" cy="1152128"/>
            </a:xfrm>
            <a:prstGeom prst="rect">
              <a:avLst/>
            </a:prstGeom>
            <a:noFill/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7" name="矩形 26"/>
            <p:cNvSpPr/>
            <p:nvPr/>
          </p:nvSpPr>
          <p:spPr>
            <a:xfrm>
              <a:off x="6132939" y="1705868"/>
              <a:ext cx="1728192" cy="34864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6132939" y="1705741"/>
              <a:ext cx="176556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b="1" dirty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VR0404/0804MF-H</a:t>
              </a:r>
              <a:endParaRPr lang="zh-CN" altLang="en-US" sz="1200" b="1" dirty="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29" name="矩形 28"/>
          <p:cNvSpPr/>
          <p:nvPr/>
        </p:nvSpPr>
        <p:spPr>
          <a:xfrm>
            <a:off x="6413539" y="2001714"/>
            <a:ext cx="1728192" cy="1152128"/>
          </a:xfrm>
          <a:prstGeom prst="rect">
            <a:avLst/>
          </a:prstGeom>
          <a:noFill/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8" rIns="91398" bIns="45698"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6419917" y="2001714"/>
            <a:ext cx="1728192" cy="34864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8" rIns="91398" bIns="45698"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556412" y="2024268"/>
            <a:ext cx="1571635" cy="276954"/>
          </a:xfrm>
          <a:prstGeom prst="rect">
            <a:avLst/>
          </a:prstGeom>
          <a:noFill/>
        </p:spPr>
        <p:txBody>
          <a:bodyPr wrap="square" lIns="91398" tIns="45698" rIns="91398" bIns="45698" rtlCol="0">
            <a:spAutoFit/>
          </a:bodyPr>
          <a:lstStyle/>
          <a:p>
            <a:r>
              <a:rPr lang="en-US" altLang="zh-CN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VR0404MF(-I)</a:t>
            </a:r>
            <a:r>
              <a:rPr lang="en-US" altLang="zh-CN" sz="1200" b="1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</a:t>
            </a:r>
            <a:endParaRPr lang="zh-CN" altLang="en-US" sz="1200" b="1" dirty="0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32" name="组合 31"/>
          <p:cNvGrpSpPr/>
          <p:nvPr/>
        </p:nvGrpSpPr>
        <p:grpSpPr>
          <a:xfrm>
            <a:off x="2451641" y="2001714"/>
            <a:ext cx="1952055" cy="1152128"/>
            <a:chOff x="4266429" y="2750050"/>
            <a:chExt cx="1734152" cy="1152599"/>
          </a:xfrm>
        </p:grpSpPr>
        <p:sp>
          <p:nvSpPr>
            <p:cNvPr id="34" name="矩形 33"/>
            <p:cNvSpPr/>
            <p:nvPr/>
          </p:nvSpPr>
          <p:spPr>
            <a:xfrm>
              <a:off x="4266429" y="2750521"/>
              <a:ext cx="1728192" cy="1152128"/>
            </a:xfrm>
            <a:prstGeom prst="rect">
              <a:avLst/>
            </a:prstGeom>
            <a:noFill/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35" name="矩形 34"/>
            <p:cNvSpPr/>
            <p:nvPr/>
          </p:nvSpPr>
          <p:spPr>
            <a:xfrm>
              <a:off x="4272389" y="2750050"/>
              <a:ext cx="1728192" cy="34864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4432265" y="2791739"/>
              <a:ext cx="1562356" cy="277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b="1" dirty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VR0404ME-UE/HE</a:t>
              </a:r>
              <a:endParaRPr lang="zh-CN" altLang="en-US" sz="1200" b="1" dirty="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pic>
        <p:nvPicPr>
          <p:cNvPr id="37" name="图片 36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03299" y="2506125"/>
            <a:ext cx="1400336" cy="431705"/>
          </a:xfrm>
          <a:prstGeom prst="rect">
            <a:avLst/>
          </a:prstGeom>
        </p:spPr>
      </p:pic>
      <p:pic>
        <p:nvPicPr>
          <p:cNvPr id="9218" name="Picture 2" descr="C:\Users\26457\Desktop\公交图片素材\5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63005" y="2400348"/>
            <a:ext cx="1358900" cy="701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9" name="表格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16152545"/>
              </p:ext>
            </p:extLst>
          </p:nvPr>
        </p:nvGraphicFramePr>
        <p:xfrm>
          <a:off x="497433" y="5374492"/>
          <a:ext cx="2357413" cy="11508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8276"/>
                <a:gridCol w="1179137"/>
              </a:tblGrid>
              <a:tr h="34440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/>
                        <a:t>CA-D480D</a:t>
                      </a:r>
                      <a:endParaRPr lang="zh-CN" alt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5419" marR="65419" marT="32657" marB="326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/>
                        <a:t>CA-DW480D</a:t>
                      </a:r>
                      <a:endParaRPr lang="zh-CN" alt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5419" marR="65419" marT="32657" marB="32657"/>
                </a:tc>
              </a:tr>
              <a:tr h="806447">
                <a:tc>
                  <a:txBody>
                    <a:bodyPr/>
                    <a:lstStyle/>
                    <a:p>
                      <a:pPr marL="0" marR="0" indent="0" algn="l" defTabSz="1141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300" dirty="0">
                        <a:solidFill>
                          <a:schemeClr val="bg1"/>
                        </a:solidFill>
                      </a:endParaRPr>
                    </a:p>
                  </a:txBody>
                  <a:tcPr marL="65419" marR="65419" marT="32657" marB="32657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300" dirty="0">
                        <a:solidFill>
                          <a:schemeClr val="bg1"/>
                        </a:solidFill>
                      </a:endParaRPr>
                    </a:p>
                  </a:txBody>
                  <a:tcPr marL="65419" marR="65419" marT="32657" marB="32657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40" name="Picture 1" descr="5-10米红外车载半球模拟摄像机 正 副本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50468" y="5790908"/>
            <a:ext cx="642939" cy="60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1816185" y="5804898"/>
            <a:ext cx="964066" cy="575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矩形 42"/>
          <p:cNvSpPr/>
          <p:nvPr/>
        </p:nvSpPr>
        <p:spPr>
          <a:xfrm>
            <a:off x="489964" y="5001455"/>
            <a:ext cx="1497037" cy="32337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8" rIns="91398" bIns="45698"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32841" y="4964470"/>
            <a:ext cx="1672872" cy="288030"/>
          </a:xfrm>
          <a:prstGeom prst="rect">
            <a:avLst/>
          </a:prstGeom>
          <a:noFill/>
        </p:spPr>
        <p:txBody>
          <a:bodyPr wrap="square" lIns="102356" tIns="51182" rIns="102356" bIns="51182" rtlCol="0">
            <a:spAutoFit/>
          </a:bodyPr>
          <a:lstStyle/>
          <a:p>
            <a:r>
              <a:rPr lang="en-US" altLang="zh-CN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nalog  Camera </a:t>
            </a:r>
            <a:endParaRPr lang="zh-CN" altLang="en-US" sz="1200" b="1" dirty="0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graphicFrame>
        <p:nvGraphicFramePr>
          <p:cNvPr id="47" name="表格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1673490"/>
              </p:ext>
            </p:extLst>
          </p:nvPr>
        </p:nvGraphicFramePr>
        <p:xfrm>
          <a:off x="4704657" y="5372160"/>
          <a:ext cx="4248472" cy="11133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4176"/>
                <a:gridCol w="1440160"/>
                <a:gridCol w="1224136"/>
              </a:tblGrid>
              <a:tr h="31694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600" b="1" dirty="0" smtClean="0"/>
                        <a:t>IPC-HDBW4421F</a:t>
                      </a:r>
                      <a:endParaRPr lang="zh-CN" altLang="en-US" sz="16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419" marR="65419" marT="43543" marB="4354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 smtClean="0"/>
                        <a:t>IPC-HDB4300C</a:t>
                      </a:r>
                      <a:endParaRPr lang="zh-CN" altLang="en-US" sz="1600" b="1" kern="1200" dirty="0" smtClean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419" marR="65419" marT="43543" marB="4354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 smtClean="0"/>
                        <a:t>IPC-EB5400</a:t>
                      </a:r>
                      <a:endParaRPr lang="zh-CN" altLang="en-US" sz="1600" b="1" kern="1200" dirty="0" smtClean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419" marR="65419" marT="43543" marB="43543"/>
                </a:tc>
              </a:tr>
              <a:tr h="782387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marL="65419" marR="65419" marT="43543" marB="435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marL="65419" marR="65419" marT="43543" marB="435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marL="65419" marR="65419" marT="43543" marB="43543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0" name="矩形 49"/>
          <p:cNvSpPr/>
          <p:nvPr/>
        </p:nvSpPr>
        <p:spPr>
          <a:xfrm>
            <a:off x="4692979" y="5022536"/>
            <a:ext cx="1497036" cy="32337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8" rIns="91398" bIns="45698"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4598512" y="5022535"/>
            <a:ext cx="1701321" cy="288030"/>
          </a:xfrm>
          <a:prstGeom prst="rect">
            <a:avLst/>
          </a:prstGeom>
          <a:noFill/>
        </p:spPr>
        <p:txBody>
          <a:bodyPr wrap="square" lIns="102356" tIns="51182" rIns="102356" bIns="51182" rtlCol="0">
            <a:spAutoFit/>
          </a:bodyPr>
          <a:lstStyle/>
          <a:p>
            <a:r>
              <a:rPr lang="en-US" altLang="zh-CN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etwork  Camera </a:t>
            </a:r>
            <a:endParaRPr lang="zh-CN" altLang="en-US" sz="1200" b="1" dirty="0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53" name="Picture 1024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6619156" y="5817186"/>
            <a:ext cx="706389" cy="552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图片 5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002316" y="5741320"/>
            <a:ext cx="973757" cy="644998"/>
          </a:xfrm>
          <a:prstGeom prst="rect">
            <a:avLst/>
          </a:prstGeom>
        </p:spPr>
      </p:pic>
      <p:sp>
        <p:nvSpPr>
          <p:cNvPr id="59" name="矩形 58"/>
          <p:cNvSpPr/>
          <p:nvPr/>
        </p:nvSpPr>
        <p:spPr>
          <a:xfrm>
            <a:off x="587271" y="1620498"/>
            <a:ext cx="1728200" cy="305766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8" rIns="91398" bIns="45698"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643191" y="1579481"/>
            <a:ext cx="1616367" cy="288030"/>
          </a:xfrm>
          <a:prstGeom prst="rect">
            <a:avLst/>
          </a:prstGeom>
          <a:noFill/>
        </p:spPr>
        <p:txBody>
          <a:bodyPr wrap="square" lIns="102356" tIns="51182" rIns="102356" bIns="51182" rtlCol="0">
            <a:spAutoFit/>
          </a:bodyPr>
          <a:lstStyle/>
          <a:p>
            <a:r>
              <a:rPr lang="en-US" altLang="zh-CN" sz="12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VR/NVR/HCVR</a:t>
            </a:r>
            <a:endParaRPr lang="zh-CN" altLang="en-US" sz="1200" b="1" dirty="0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3" name="矩形 62"/>
          <p:cNvSpPr/>
          <p:nvPr/>
        </p:nvSpPr>
        <p:spPr>
          <a:xfrm>
            <a:off x="2056606" y="381000"/>
            <a:ext cx="2421816" cy="79992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8" rIns="91398" bIns="45698" rtlCol="0" anchor="ctr"/>
          <a:lstStyle/>
          <a:p>
            <a:pPr algn="ctr"/>
            <a:endParaRPr lang="zh-CN" altLang="en-US" sz="19900" b="1" dirty="0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4" name="矩形 63"/>
          <p:cNvSpPr/>
          <p:nvPr/>
        </p:nvSpPr>
        <p:spPr>
          <a:xfrm>
            <a:off x="380206" y="381000"/>
            <a:ext cx="1698056" cy="79992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8" rIns="91398" bIns="45698"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5" name="文本框 24"/>
          <p:cNvSpPr txBox="1"/>
          <p:nvPr/>
        </p:nvSpPr>
        <p:spPr>
          <a:xfrm>
            <a:off x="380206" y="381000"/>
            <a:ext cx="1939555" cy="830791"/>
          </a:xfrm>
          <a:prstGeom prst="rect">
            <a:avLst/>
          </a:prstGeom>
          <a:noFill/>
        </p:spPr>
        <p:txBody>
          <a:bodyPr wrap="square" lIns="91242" tIns="45618" rIns="91242" bIns="45618" rtlCol="0">
            <a:spAutoFit/>
          </a:bodyPr>
          <a:lstStyle/>
          <a:p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ẢN </a:t>
            </a:r>
          </a:p>
          <a:p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ẨM</a:t>
            </a:r>
            <a:endParaRPr lang="zh-CN" altLang="en-US" sz="2400" b="1" dirty="0">
              <a:solidFill>
                <a:prstClr val="white"/>
              </a:solidFill>
              <a:latin typeface="Tahoma" pitchFamily="34" charset="0"/>
              <a:ea typeface="微软雅黑" panose="020B0503020204020204" pitchFamily="34" charset="-122"/>
              <a:cs typeface="Tahoma" pitchFamily="34" charset="0"/>
            </a:endParaRPr>
          </a:p>
        </p:txBody>
      </p:sp>
      <p:pic>
        <p:nvPicPr>
          <p:cNvPr id="1028" name="Picture 4" descr="C:\Users\28990\Desktop\1111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62822" y="5741320"/>
            <a:ext cx="1118299" cy="740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矩形 69"/>
          <p:cNvSpPr/>
          <p:nvPr/>
        </p:nvSpPr>
        <p:spPr>
          <a:xfrm>
            <a:off x="2056606" y="609600"/>
            <a:ext cx="2444500" cy="461459"/>
          </a:xfrm>
          <a:prstGeom prst="rect">
            <a:avLst/>
          </a:prstGeom>
          <a:noFill/>
        </p:spPr>
        <p:txBody>
          <a:bodyPr wrap="none" lIns="91242" tIns="45618" rIns="91242" bIns="45618" rtlCol="0">
            <a:spAutoFit/>
          </a:bodyPr>
          <a:lstStyle/>
          <a:p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ƯƠNG TIỆN</a:t>
            </a:r>
            <a:endParaRPr lang="zh-CN" altLang="en-US" sz="2400" b="1" dirty="0">
              <a:solidFill>
                <a:prstClr val="white"/>
              </a:solidFill>
              <a:latin typeface="Tahoma" pitchFamily="34" charset="0"/>
              <a:ea typeface="微软雅黑" panose="020B0503020204020204" pitchFamily="34" charset="-122"/>
              <a:cs typeface="Tahoma" pitchFamily="34" charset="0"/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583710" y="3217772"/>
            <a:ext cx="1728192" cy="1152128"/>
          </a:xfrm>
          <a:prstGeom prst="rect">
            <a:avLst/>
          </a:prstGeom>
          <a:noFill/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8" rIns="91398" bIns="45698"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3" name="矩形 72"/>
          <p:cNvSpPr/>
          <p:nvPr/>
        </p:nvSpPr>
        <p:spPr>
          <a:xfrm>
            <a:off x="590088" y="3217772"/>
            <a:ext cx="1728192" cy="34864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8" rIns="91398" bIns="45698"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726583" y="3240326"/>
            <a:ext cx="1571635" cy="276954"/>
          </a:xfrm>
          <a:prstGeom prst="rect">
            <a:avLst/>
          </a:prstGeom>
          <a:noFill/>
        </p:spPr>
        <p:txBody>
          <a:bodyPr wrap="square" lIns="91398" tIns="45698" rIns="91398" bIns="45698" rtlCol="0">
            <a:spAutoFit/>
          </a:bodyPr>
          <a:lstStyle/>
          <a:p>
            <a:r>
              <a:rPr lang="en-US" altLang="zh-CN" sz="12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VR0804MF</a:t>
            </a:r>
            <a:r>
              <a:rPr lang="en-US" altLang="zh-CN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-I)</a:t>
            </a:r>
            <a:r>
              <a:rPr lang="en-US" altLang="zh-CN" sz="1200" b="1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</a:t>
            </a:r>
            <a:endParaRPr lang="zh-CN" altLang="en-US" sz="1200" b="1" dirty="0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75" name="Picture 65" descr="ScreenShot_20121106_182514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3299" y="3563481"/>
            <a:ext cx="1179519" cy="729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7" name="组合 76"/>
          <p:cNvGrpSpPr/>
          <p:nvPr/>
        </p:nvGrpSpPr>
        <p:grpSpPr>
          <a:xfrm>
            <a:off x="2458747" y="3197167"/>
            <a:ext cx="1952055" cy="1152128"/>
            <a:chOff x="4266429" y="2750050"/>
            <a:chExt cx="1734152" cy="1152599"/>
          </a:xfrm>
        </p:grpSpPr>
        <p:sp>
          <p:nvSpPr>
            <p:cNvPr id="78" name="矩形 77"/>
            <p:cNvSpPr/>
            <p:nvPr/>
          </p:nvSpPr>
          <p:spPr>
            <a:xfrm>
              <a:off x="4266429" y="2750521"/>
              <a:ext cx="1728192" cy="1152128"/>
            </a:xfrm>
            <a:prstGeom prst="rect">
              <a:avLst/>
            </a:prstGeom>
            <a:noFill/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79" name="矩形 78"/>
            <p:cNvSpPr/>
            <p:nvPr/>
          </p:nvSpPr>
          <p:spPr>
            <a:xfrm>
              <a:off x="4272389" y="2750050"/>
              <a:ext cx="1728192" cy="34864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392014" y="2780754"/>
              <a:ext cx="1562356" cy="277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b="1" dirty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MCVR5104-GCW</a:t>
              </a:r>
              <a:endParaRPr lang="zh-CN" altLang="en-US" sz="1200" b="1" dirty="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cxnSp>
        <p:nvCxnSpPr>
          <p:cNvPr id="6" name="肘形连接符 5"/>
          <p:cNvCxnSpPr/>
          <p:nvPr/>
        </p:nvCxnSpPr>
        <p:spPr>
          <a:xfrm rot="16200000" flipH="1">
            <a:off x="4748895" y="1146584"/>
            <a:ext cx="1050659" cy="777867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876254" y="1010189"/>
            <a:ext cx="0" cy="10506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肘形连接符 11"/>
          <p:cNvCxnSpPr/>
          <p:nvPr/>
        </p:nvCxnSpPr>
        <p:spPr>
          <a:xfrm rot="5400000" flipH="1" flipV="1">
            <a:off x="5929917" y="1175478"/>
            <a:ext cx="1050658" cy="720080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" name="Picture 5"/>
          <p:cNvPicPr>
            <a:picLocks noChangeAspect="1" noChangeArrowheads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606972" y="239164"/>
            <a:ext cx="596492" cy="619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TextBox 109"/>
          <p:cNvSpPr txBox="1">
            <a:spLocks noChangeArrowheads="1"/>
          </p:cNvSpPr>
          <p:nvPr/>
        </p:nvSpPr>
        <p:spPr bwMode="auto">
          <a:xfrm>
            <a:off x="4439736" y="817854"/>
            <a:ext cx="891109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6" tIns="60959" rIns="121916" bIns="6095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/>
            <a:r>
              <a:rPr lang="en-US" altLang="zh-CN" sz="1200" dirty="0">
                <a:latin typeface="Tahoma" pitchFamily="34" charset="0"/>
                <a:ea typeface="Tahoma" pitchFamily="34" charset="0"/>
                <a:cs typeface="Tahoma" pitchFamily="34" charset="0"/>
              </a:rPr>
              <a:t>3G/4G</a:t>
            </a:r>
          </a:p>
        </p:txBody>
      </p:sp>
      <p:pic>
        <p:nvPicPr>
          <p:cNvPr id="84" name="图片 83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519142" y="651392"/>
            <a:ext cx="654998" cy="320349"/>
          </a:xfrm>
          <a:prstGeom prst="rect">
            <a:avLst/>
          </a:prstGeom>
        </p:spPr>
      </p:pic>
      <p:pic>
        <p:nvPicPr>
          <p:cNvPr id="86" name="Picture 3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6432344" y="285423"/>
            <a:ext cx="832233" cy="564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7" name="TextBox 109"/>
          <p:cNvSpPr txBox="1">
            <a:spLocks noChangeArrowheads="1"/>
          </p:cNvSpPr>
          <p:nvPr/>
        </p:nvSpPr>
        <p:spPr bwMode="auto">
          <a:xfrm>
            <a:off x="6362682" y="807734"/>
            <a:ext cx="915018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6" tIns="60959" rIns="121916" bIns="6095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/>
            <a:r>
              <a:rPr lang="en-US" altLang="zh-CN" sz="1200" dirty="0">
                <a:latin typeface="Tahoma" pitchFamily="34" charset="0"/>
                <a:ea typeface="Tahoma" pitchFamily="34" charset="0"/>
                <a:cs typeface="Tahoma" pitchFamily="34" charset="0"/>
              </a:rPr>
              <a:t>GPS</a:t>
            </a:r>
          </a:p>
        </p:txBody>
      </p:sp>
      <p:graphicFrame>
        <p:nvGraphicFramePr>
          <p:cNvPr id="88" name="表格 8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008882629"/>
              </p:ext>
            </p:extLst>
          </p:nvPr>
        </p:nvGraphicFramePr>
        <p:xfrm>
          <a:off x="2963179" y="5373115"/>
          <a:ext cx="1584176" cy="11080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4176"/>
              </a:tblGrid>
              <a:tr h="31694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600" b="1" dirty="0" smtClean="0"/>
                        <a:t>IPC-HDBW4421F</a:t>
                      </a:r>
                      <a:endParaRPr lang="zh-CN" altLang="en-US" sz="16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419" marR="65419" marT="43543" marB="43543"/>
                </a:tc>
              </a:tr>
              <a:tr h="777148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marL="65419" marR="65419" marT="43543" marB="43543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91" name="矩形 90"/>
          <p:cNvSpPr/>
          <p:nvPr/>
        </p:nvSpPr>
        <p:spPr>
          <a:xfrm>
            <a:off x="2969886" y="5005684"/>
            <a:ext cx="1388898" cy="32337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8" rIns="91398" bIns="45698"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2884242" y="5001455"/>
            <a:ext cx="1555493" cy="288030"/>
          </a:xfrm>
          <a:prstGeom prst="rect">
            <a:avLst/>
          </a:prstGeom>
          <a:noFill/>
        </p:spPr>
        <p:txBody>
          <a:bodyPr wrap="square" lIns="102356" tIns="51182" rIns="102356" bIns="51182" rtlCol="0">
            <a:spAutoFit/>
          </a:bodyPr>
          <a:lstStyle/>
          <a:p>
            <a:r>
              <a:rPr lang="en-US" altLang="zh-CN" sz="12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DCVI  </a:t>
            </a:r>
            <a:r>
              <a:rPr lang="en-US" altLang="zh-CN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amera </a:t>
            </a:r>
            <a:endParaRPr lang="zh-CN" altLang="en-US" sz="1200" b="1" dirty="0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93" name="图片 92" descr="效果图1.jpg"/>
          <p:cNvPicPr>
            <a:picLocks noChangeAspect="1"/>
          </p:cNvPicPr>
          <p:nvPr/>
        </p:nvPicPr>
        <p:blipFill>
          <a:blip r:embed="rId18" cstate="print"/>
          <a:srcRect l="26389" t="32809" r="29166" b="20873"/>
          <a:stretch>
            <a:fillRect/>
          </a:stretch>
        </p:blipFill>
        <p:spPr>
          <a:xfrm>
            <a:off x="3182381" y="5700726"/>
            <a:ext cx="1040617" cy="780463"/>
          </a:xfrm>
          <a:prstGeom prst="rect">
            <a:avLst/>
          </a:prstGeom>
        </p:spPr>
      </p:pic>
      <p:pic>
        <p:nvPicPr>
          <p:cNvPr id="94" name="Picture 2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6504253" y="3221823"/>
            <a:ext cx="1546764" cy="106340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59263" y="3268664"/>
            <a:ext cx="787564" cy="1080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5" name="矩形 94"/>
          <p:cNvSpPr/>
          <p:nvPr/>
        </p:nvSpPr>
        <p:spPr>
          <a:xfrm>
            <a:off x="5706728" y="4349295"/>
            <a:ext cx="1497036" cy="32337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8" rIns="91398" bIns="45698"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5846641" y="4323047"/>
            <a:ext cx="1701321" cy="349625"/>
          </a:xfrm>
          <a:prstGeom prst="rect">
            <a:avLst/>
          </a:prstGeom>
          <a:noFill/>
        </p:spPr>
        <p:txBody>
          <a:bodyPr wrap="square" lIns="102356" tIns="51182" rIns="102356" bIns="51182" rtlCol="0">
            <a:spAutoFit/>
          </a:bodyPr>
          <a:lstStyle/>
          <a:p>
            <a:r>
              <a:rPr lang="en-US" altLang="zh-CN" sz="16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TZ Camera </a:t>
            </a:r>
            <a:endParaRPr lang="zh-CN" altLang="en-US" sz="1600" b="1" dirty="0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6000306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26457\Desktop\公交图片素材\9825bc315c6034a81e7dd78bc913495409237618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8678" b="3347"/>
          <a:stretch/>
        </p:blipFill>
        <p:spPr bwMode="auto">
          <a:xfrm>
            <a:off x="0" y="0"/>
            <a:ext cx="12215890" cy="6898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矩形 6"/>
          <p:cNvSpPr/>
          <p:nvPr/>
        </p:nvSpPr>
        <p:spPr>
          <a:xfrm>
            <a:off x="7751401" y="4896543"/>
            <a:ext cx="4439023" cy="148479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38" tIns="45670" rIns="91338" bIns="45670" rtlCol="0" anchor="ctr"/>
          <a:lstStyle/>
          <a:p>
            <a:pPr algn="ctr" defTabSz="913339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619206" y="4953000"/>
            <a:ext cx="4833664" cy="1323314"/>
          </a:xfrm>
          <a:prstGeom prst="rect">
            <a:avLst/>
          </a:prstGeom>
          <a:noFill/>
        </p:spPr>
        <p:txBody>
          <a:bodyPr wrap="square" lIns="91310" tIns="45658" rIns="91310" bIns="45658" rtlCol="0">
            <a:spAutoFit/>
          </a:bodyPr>
          <a:lstStyle/>
          <a:p>
            <a:pPr algn="ctr"/>
            <a:r>
              <a:rPr lang="en-US" altLang="zh-CN" sz="40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IẢI PHÁP</a:t>
            </a:r>
          </a:p>
          <a:p>
            <a:pPr algn="ctr"/>
            <a:r>
              <a:rPr lang="en-US" altLang="zh-CN" sz="40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ĐỒNG BỘ</a:t>
            </a:r>
            <a:endParaRPr lang="en-US" altLang="zh-CN" sz="40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272237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图片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" y="0"/>
            <a:ext cx="12190412" cy="6858000"/>
          </a:xfrm>
          <a:prstGeom prst="rect">
            <a:avLst/>
          </a:prstGeom>
        </p:spPr>
      </p:pic>
      <p:sp>
        <p:nvSpPr>
          <p:cNvPr id="37" name="矩形 36"/>
          <p:cNvSpPr/>
          <p:nvPr/>
        </p:nvSpPr>
        <p:spPr bwMode="auto">
          <a:xfrm>
            <a:off x="10463468" y="0"/>
            <a:ext cx="1760631" cy="6858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649" tIns="60825" rIns="121649" bIns="60825" rtlCol="0" anchor="ctr"/>
          <a:lstStyle/>
          <a:p>
            <a:pPr algn="ctr" defTabSz="1216460"/>
            <a:endParaRPr lang="en-US" sz="4300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9" name="矩形 8"/>
          <p:cNvSpPr/>
          <p:nvPr/>
        </p:nvSpPr>
        <p:spPr bwMode="auto">
          <a:xfrm>
            <a:off x="12" y="1905009"/>
            <a:ext cx="12224067" cy="3813219"/>
          </a:xfrm>
          <a:prstGeom prst="rect">
            <a:avLst/>
          </a:prstGeom>
          <a:solidFill>
            <a:srgbClr val="1E3E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649" tIns="60825" rIns="121649" bIns="60825" rtlCol="0" anchor="ctr"/>
          <a:lstStyle/>
          <a:p>
            <a:pPr algn="ctr" defTabSz="1216460"/>
            <a:endParaRPr lang="en-US" sz="4300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3" name="直接连接符 2"/>
          <p:cNvCxnSpPr/>
          <p:nvPr/>
        </p:nvCxnSpPr>
        <p:spPr>
          <a:xfrm>
            <a:off x="12" y="4101795"/>
            <a:ext cx="12224067" cy="21519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Picture 10" descr="C:\Users\Jonahs\Dropbox\Projects SCOTT\MEET Windows Azure\source\Background\tile-icon-network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6669168">
            <a:off x="7753155" y="3415506"/>
            <a:ext cx="392961" cy="392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7" descr="C:\Users\v-junyo.REDMOND\Downloads\picasion.com_47562b368667ae2cdfc03232e83d1978.gif"/>
          <p:cNvPicPr preferRelativeResize="0">
            <a:picLocks noChangeArrowheads="1" noCrop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 rot="10800000">
            <a:off x="4334092" y="3289001"/>
            <a:ext cx="1862710" cy="60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" name="Rectangle 535"/>
          <p:cNvSpPr/>
          <p:nvPr/>
        </p:nvSpPr>
        <p:spPr bwMode="auto">
          <a:xfrm>
            <a:off x="1021820" y="4406570"/>
            <a:ext cx="10457497" cy="87254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just" defTabSz="1240156">
              <a:lnSpc>
                <a:spcPct val="90000"/>
              </a:lnSpc>
              <a:spcBef>
                <a:spcPts val="1599"/>
              </a:spcBef>
            </a:pPr>
            <a:r>
              <a:rPr lang="en-US" altLang="zh-CN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ệ</a:t>
            </a:r>
            <a:r>
              <a:rPr lang="en-US" altLang="zh-CN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ống</a:t>
            </a:r>
            <a:r>
              <a:rPr lang="en-US" altLang="zh-CN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ự</a:t>
            </a:r>
            <a:r>
              <a:rPr lang="en-US" altLang="zh-CN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òng</a:t>
            </a:r>
            <a:r>
              <a:rPr lang="en-US" altLang="zh-CN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ữ</a:t>
            </a:r>
            <a:r>
              <a:rPr lang="en-US" altLang="zh-CN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iệu</a:t>
            </a:r>
            <a:r>
              <a:rPr lang="en-US" altLang="zh-CN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hông</a:t>
            </a:r>
            <a:r>
              <a:rPr lang="en-US" altLang="zh-CN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ây</a:t>
            </a:r>
            <a:r>
              <a:rPr lang="en-US" altLang="zh-CN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hi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ác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ương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iện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ở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ề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ến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xe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DVR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ên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xe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ẽ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huyển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ừ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hế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ộ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3G sang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Wi-fi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ếu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ó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át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iện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ấy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ín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iệu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Wi-fi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au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ó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ệ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ống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server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ủa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DSS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ẽ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ự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ộng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ao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ưu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ữ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iệu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ừ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DVR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ủa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xe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</a:p>
        </p:txBody>
      </p:sp>
      <p:sp>
        <p:nvSpPr>
          <p:cNvPr id="65" name="Freeform 11"/>
          <p:cNvSpPr>
            <a:spLocks noChangeAspect="1" noEditPoints="1"/>
          </p:cNvSpPr>
          <p:nvPr/>
        </p:nvSpPr>
        <p:spPr bwMode="auto">
          <a:xfrm>
            <a:off x="7211601" y="3187394"/>
            <a:ext cx="582335" cy="765681"/>
          </a:xfrm>
          <a:custGeom>
            <a:avLst/>
            <a:gdLst>
              <a:gd name="T0" fmla="*/ 146 w 289"/>
              <a:gd name="T1" fmla="*/ 357 h 411"/>
              <a:gd name="T2" fmla="*/ 117 w 289"/>
              <a:gd name="T3" fmla="*/ 329 h 411"/>
              <a:gd name="T4" fmla="*/ 168 w 289"/>
              <a:gd name="T5" fmla="*/ 205 h 411"/>
              <a:gd name="T6" fmla="*/ 117 w 289"/>
              <a:gd name="T7" fmla="*/ 82 h 411"/>
              <a:gd name="T8" fmla="*/ 146 w 289"/>
              <a:gd name="T9" fmla="*/ 53 h 411"/>
              <a:gd name="T10" fmla="*/ 208 w 289"/>
              <a:gd name="T11" fmla="*/ 205 h 411"/>
              <a:gd name="T12" fmla="*/ 146 w 289"/>
              <a:gd name="T13" fmla="*/ 357 h 411"/>
              <a:gd name="T14" fmla="*/ 289 w 289"/>
              <a:gd name="T15" fmla="*/ 205 h 411"/>
              <a:gd name="T16" fmla="*/ 204 w 289"/>
              <a:gd name="T17" fmla="*/ 0 h 411"/>
              <a:gd name="T18" fmla="*/ 176 w 289"/>
              <a:gd name="T19" fmla="*/ 28 h 411"/>
              <a:gd name="T20" fmla="*/ 249 w 289"/>
              <a:gd name="T21" fmla="*/ 205 h 411"/>
              <a:gd name="T22" fmla="*/ 176 w 289"/>
              <a:gd name="T23" fmla="*/ 382 h 411"/>
              <a:gd name="T24" fmla="*/ 204 w 289"/>
              <a:gd name="T25" fmla="*/ 411 h 411"/>
              <a:gd name="T26" fmla="*/ 289 w 289"/>
              <a:gd name="T27" fmla="*/ 205 h 411"/>
              <a:gd name="T28" fmla="*/ 87 w 289"/>
              <a:gd name="T29" fmla="*/ 105 h 411"/>
              <a:gd name="T30" fmla="*/ 58 w 289"/>
              <a:gd name="T31" fmla="*/ 134 h 411"/>
              <a:gd name="T32" fmla="*/ 58 w 289"/>
              <a:gd name="T33" fmla="*/ 276 h 411"/>
              <a:gd name="T34" fmla="*/ 87 w 289"/>
              <a:gd name="T35" fmla="*/ 305 h 411"/>
              <a:gd name="T36" fmla="*/ 87 w 289"/>
              <a:gd name="T37" fmla="*/ 105 h 411"/>
              <a:gd name="T38" fmla="*/ 28 w 289"/>
              <a:gd name="T39" fmla="*/ 158 h 411"/>
              <a:gd name="T40" fmla="*/ 0 w 289"/>
              <a:gd name="T41" fmla="*/ 186 h 411"/>
              <a:gd name="T42" fmla="*/ 0 w 289"/>
              <a:gd name="T43" fmla="*/ 224 h 411"/>
              <a:gd name="T44" fmla="*/ 28 w 289"/>
              <a:gd name="T45" fmla="*/ 252 h 411"/>
              <a:gd name="T46" fmla="*/ 28 w 289"/>
              <a:gd name="T47" fmla="*/ 158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89" h="411">
                <a:moveTo>
                  <a:pt x="146" y="357"/>
                </a:moveTo>
                <a:cubicBezTo>
                  <a:pt x="117" y="329"/>
                  <a:pt x="117" y="329"/>
                  <a:pt x="117" y="329"/>
                </a:cubicBezTo>
                <a:cubicBezTo>
                  <a:pt x="150" y="296"/>
                  <a:pt x="168" y="252"/>
                  <a:pt x="168" y="205"/>
                </a:cubicBezTo>
                <a:cubicBezTo>
                  <a:pt x="168" y="158"/>
                  <a:pt x="150" y="115"/>
                  <a:pt x="117" y="82"/>
                </a:cubicBezTo>
                <a:cubicBezTo>
                  <a:pt x="146" y="53"/>
                  <a:pt x="146" y="53"/>
                  <a:pt x="146" y="53"/>
                </a:cubicBezTo>
                <a:cubicBezTo>
                  <a:pt x="186" y="94"/>
                  <a:pt x="208" y="148"/>
                  <a:pt x="208" y="205"/>
                </a:cubicBezTo>
                <a:cubicBezTo>
                  <a:pt x="208" y="262"/>
                  <a:pt x="186" y="316"/>
                  <a:pt x="146" y="357"/>
                </a:cubicBezTo>
                <a:close/>
                <a:moveTo>
                  <a:pt x="289" y="205"/>
                </a:moveTo>
                <a:cubicBezTo>
                  <a:pt x="289" y="127"/>
                  <a:pt x="259" y="54"/>
                  <a:pt x="204" y="0"/>
                </a:cubicBezTo>
                <a:cubicBezTo>
                  <a:pt x="176" y="28"/>
                  <a:pt x="176" y="28"/>
                  <a:pt x="176" y="28"/>
                </a:cubicBezTo>
                <a:cubicBezTo>
                  <a:pt x="223" y="75"/>
                  <a:pt x="249" y="138"/>
                  <a:pt x="249" y="205"/>
                </a:cubicBezTo>
                <a:cubicBezTo>
                  <a:pt x="249" y="272"/>
                  <a:pt x="223" y="335"/>
                  <a:pt x="176" y="382"/>
                </a:cubicBezTo>
                <a:cubicBezTo>
                  <a:pt x="204" y="411"/>
                  <a:pt x="204" y="411"/>
                  <a:pt x="204" y="411"/>
                </a:cubicBezTo>
                <a:cubicBezTo>
                  <a:pt x="259" y="356"/>
                  <a:pt x="289" y="283"/>
                  <a:pt x="289" y="205"/>
                </a:cubicBezTo>
                <a:close/>
                <a:moveTo>
                  <a:pt x="87" y="105"/>
                </a:moveTo>
                <a:cubicBezTo>
                  <a:pt x="58" y="134"/>
                  <a:pt x="58" y="134"/>
                  <a:pt x="58" y="134"/>
                </a:cubicBezTo>
                <a:cubicBezTo>
                  <a:pt x="98" y="173"/>
                  <a:pt x="98" y="237"/>
                  <a:pt x="58" y="276"/>
                </a:cubicBezTo>
                <a:cubicBezTo>
                  <a:pt x="87" y="305"/>
                  <a:pt x="87" y="305"/>
                  <a:pt x="87" y="305"/>
                </a:cubicBezTo>
                <a:cubicBezTo>
                  <a:pt x="141" y="250"/>
                  <a:pt x="141" y="160"/>
                  <a:pt x="87" y="105"/>
                </a:cubicBezTo>
                <a:close/>
                <a:moveTo>
                  <a:pt x="28" y="158"/>
                </a:moveTo>
                <a:cubicBezTo>
                  <a:pt x="0" y="186"/>
                  <a:pt x="0" y="186"/>
                  <a:pt x="0" y="186"/>
                </a:cubicBezTo>
                <a:cubicBezTo>
                  <a:pt x="10" y="197"/>
                  <a:pt x="10" y="214"/>
                  <a:pt x="0" y="224"/>
                </a:cubicBezTo>
                <a:cubicBezTo>
                  <a:pt x="28" y="252"/>
                  <a:pt x="28" y="252"/>
                  <a:pt x="28" y="252"/>
                </a:cubicBezTo>
                <a:cubicBezTo>
                  <a:pt x="54" y="226"/>
                  <a:pt x="54" y="184"/>
                  <a:pt x="28" y="158"/>
                </a:cubicBezTo>
                <a:close/>
              </a:path>
            </a:pathLst>
          </a:custGeom>
          <a:solidFill>
            <a:srgbClr val="FFFFFF"/>
          </a:solidFill>
          <a:ln w="1079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210" tIns="45609" rIns="91210" bIns="45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40395">
              <a:defRPr/>
            </a:pPr>
            <a:endParaRPr lang="en-US" sz="1700" kern="0" dirty="0">
              <a:solidFill>
                <a:srgbClr val="FFFFFF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3" name="Freeform 5"/>
          <p:cNvSpPr>
            <a:spLocks noEditPoints="1"/>
          </p:cNvSpPr>
          <p:nvPr/>
        </p:nvSpPr>
        <p:spPr bwMode="black">
          <a:xfrm>
            <a:off x="5559014" y="2911199"/>
            <a:ext cx="1625388" cy="1190581"/>
          </a:xfrm>
          <a:custGeom>
            <a:avLst/>
            <a:gdLst>
              <a:gd name="T0" fmla="*/ 89 w 226"/>
              <a:gd name="T1" fmla="*/ 124 h 348"/>
              <a:gd name="T2" fmla="*/ 118 w 226"/>
              <a:gd name="T3" fmla="*/ 113 h 348"/>
              <a:gd name="T4" fmla="*/ 150 w 226"/>
              <a:gd name="T5" fmla="*/ 124 h 348"/>
              <a:gd name="T6" fmla="*/ 150 w 226"/>
              <a:gd name="T7" fmla="*/ 145 h 348"/>
              <a:gd name="T8" fmla="*/ 226 w 226"/>
              <a:gd name="T9" fmla="*/ 348 h 348"/>
              <a:gd name="T10" fmla="*/ 89 w 226"/>
              <a:gd name="T11" fmla="*/ 0 h 348"/>
              <a:gd name="T12" fmla="*/ 118 w 226"/>
              <a:gd name="T13" fmla="*/ 100 h 348"/>
              <a:gd name="T14" fmla="*/ 150 w 226"/>
              <a:gd name="T15" fmla="*/ 68 h 348"/>
              <a:gd name="T16" fmla="*/ 150 w 226"/>
              <a:gd name="T17" fmla="*/ 55 h 348"/>
              <a:gd name="T18" fmla="*/ 118 w 226"/>
              <a:gd name="T19" fmla="*/ 23 h 348"/>
              <a:gd name="T20" fmla="*/ 150 w 226"/>
              <a:gd name="T21" fmla="*/ 55 h 348"/>
              <a:gd name="T22" fmla="*/ 166 w 226"/>
              <a:gd name="T23" fmla="*/ 280 h 348"/>
              <a:gd name="T24" fmla="*/ 197 w 226"/>
              <a:gd name="T25" fmla="*/ 249 h 348"/>
              <a:gd name="T26" fmla="*/ 197 w 226"/>
              <a:gd name="T27" fmla="*/ 235 h 348"/>
              <a:gd name="T28" fmla="*/ 166 w 226"/>
              <a:gd name="T29" fmla="*/ 204 h 348"/>
              <a:gd name="T30" fmla="*/ 197 w 226"/>
              <a:gd name="T31" fmla="*/ 235 h 348"/>
              <a:gd name="T32" fmla="*/ 166 w 226"/>
              <a:gd name="T33" fmla="*/ 190 h 348"/>
              <a:gd name="T34" fmla="*/ 197 w 226"/>
              <a:gd name="T35" fmla="*/ 158 h 348"/>
              <a:gd name="T36" fmla="*/ 197 w 226"/>
              <a:gd name="T37" fmla="*/ 145 h 348"/>
              <a:gd name="T38" fmla="*/ 166 w 226"/>
              <a:gd name="T39" fmla="*/ 113 h 348"/>
              <a:gd name="T40" fmla="*/ 197 w 226"/>
              <a:gd name="T41" fmla="*/ 145 h 348"/>
              <a:gd name="T42" fmla="*/ 166 w 226"/>
              <a:gd name="T43" fmla="*/ 100 h 348"/>
              <a:gd name="T44" fmla="*/ 197 w 226"/>
              <a:gd name="T45" fmla="*/ 68 h 348"/>
              <a:gd name="T46" fmla="*/ 197 w 226"/>
              <a:gd name="T47" fmla="*/ 55 h 348"/>
              <a:gd name="T48" fmla="*/ 166 w 226"/>
              <a:gd name="T49" fmla="*/ 23 h 348"/>
              <a:gd name="T50" fmla="*/ 197 w 226"/>
              <a:gd name="T51" fmla="*/ 55 h 348"/>
              <a:gd name="T52" fmla="*/ 0 w 226"/>
              <a:gd name="T53" fmla="*/ 348 h 348"/>
              <a:gd name="T54" fmla="*/ 137 w 226"/>
              <a:gd name="T55" fmla="*/ 137 h 348"/>
              <a:gd name="T56" fmla="*/ 60 w 226"/>
              <a:gd name="T57" fmla="*/ 326 h 348"/>
              <a:gd name="T58" fmla="*/ 29 w 226"/>
              <a:gd name="T59" fmla="*/ 294 h 348"/>
              <a:gd name="T60" fmla="*/ 60 w 226"/>
              <a:gd name="T61" fmla="*/ 326 h 348"/>
              <a:gd name="T62" fmla="*/ 29 w 226"/>
              <a:gd name="T63" fmla="*/ 280 h 348"/>
              <a:gd name="T64" fmla="*/ 60 w 226"/>
              <a:gd name="T65" fmla="*/ 249 h 348"/>
              <a:gd name="T66" fmla="*/ 60 w 226"/>
              <a:gd name="T67" fmla="*/ 235 h 348"/>
              <a:gd name="T68" fmla="*/ 29 w 226"/>
              <a:gd name="T69" fmla="*/ 204 h 348"/>
              <a:gd name="T70" fmla="*/ 60 w 226"/>
              <a:gd name="T71" fmla="*/ 235 h 348"/>
              <a:gd name="T72" fmla="*/ 29 w 226"/>
              <a:gd name="T73" fmla="*/ 190 h 348"/>
              <a:gd name="T74" fmla="*/ 60 w 226"/>
              <a:gd name="T75" fmla="*/ 158 h 348"/>
              <a:gd name="T76" fmla="*/ 108 w 226"/>
              <a:gd name="T77" fmla="*/ 326 h 348"/>
              <a:gd name="T78" fmla="*/ 76 w 226"/>
              <a:gd name="T79" fmla="*/ 294 h 348"/>
              <a:gd name="T80" fmla="*/ 108 w 226"/>
              <a:gd name="T81" fmla="*/ 326 h 348"/>
              <a:gd name="T82" fmla="*/ 76 w 226"/>
              <a:gd name="T83" fmla="*/ 280 h 348"/>
              <a:gd name="T84" fmla="*/ 108 w 226"/>
              <a:gd name="T85" fmla="*/ 249 h 348"/>
              <a:gd name="T86" fmla="*/ 108 w 226"/>
              <a:gd name="T87" fmla="*/ 235 h 348"/>
              <a:gd name="T88" fmla="*/ 76 w 226"/>
              <a:gd name="T89" fmla="*/ 204 h 348"/>
              <a:gd name="T90" fmla="*/ 108 w 226"/>
              <a:gd name="T91" fmla="*/ 235 h 348"/>
              <a:gd name="T92" fmla="*/ 76 w 226"/>
              <a:gd name="T93" fmla="*/ 190 h 348"/>
              <a:gd name="T94" fmla="*/ 108 w 226"/>
              <a:gd name="T95" fmla="*/ 158 h 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26" h="348">
                <a:moveTo>
                  <a:pt x="89" y="0"/>
                </a:moveTo>
                <a:lnTo>
                  <a:pt x="89" y="124"/>
                </a:lnTo>
                <a:lnTo>
                  <a:pt x="118" y="124"/>
                </a:lnTo>
                <a:lnTo>
                  <a:pt x="118" y="113"/>
                </a:lnTo>
                <a:lnTo>
                  <a:pt x="150" y="113"/>
                </a:lnTo>
                <a:lnTo>
                  <a:pt x="150" y="124"/>
                </a:lnTo>
                <a:lnTo>
                  <a:pt x="150" y="137"/>
                </a:lnTo>
                <a:lnTo>
                  <a:pt x="150" y="145"/>
                </a:lnTo>
                <a:lnTo>
                  <a:pt x="150" y="348"/>
                </a:lnTo>
                <a:lnTo>
                  <a:pt x="226" y="348"/>
                </a:lnTo>
                <a:lnTo>
                  <a:pt x="226" y="0"/>
                </a:lnTo>
                <a:lnTo>
                  <a:pt x="89" y="0"/>
                </a:lnTo>
                <a:close/>
                <a:moveTo>
                  <a:pt x="150" y="100"/>
                </a:moveTo>
                <a:lnTo>
                  <a:pt x="118" y="100"/>
                </a:lnTo>
                <a:lnTo>
                  <a:pt x="118" y="68"/>
                </a:lnTo>
                <a:lnTo>
                  <a:pt x="150" y="68"/>
                </a:lnTo>
                <a:lnTo>
                  <a:pt x="150" y="100"/>
                </a:lnTo>
                <a:close/>
                <a:moveTo>
                  <a:pt x="150" y="55"/>
                </a:moveTo>
                <a:lnTo>
                  <a:pt x="118" y="55"/>
                </a:lnTo>
                <a:lnTo>
                  <a:pt x="118" y="23"/>
                </a:lnTo>
                <a:lnTo>
                  <a:pt x="150" y="23"/>
                </a:lnTo>
                <a:lnTo>
                  <a:pt x="150" y="55"/>
                </a:lnTo>
                <a:close/>
                <a:moveTo>
                  <a:pt x="197" y="280"/>
                </a:moveTo>
                <a:lnTo>
                  <a:pt x="166" y="280"/>
                </a:lnTo>
                <a:lnTo>
                  <a:pt x="166" y="249"/>
                </a:lnTo>
                <a:lnTo>
                  <a:pt x="197" y="249"/>
                </a:lnTo>
                <a:lnTo>
                  <a:pt x="197" y="280"/>
                </a:lnTo>
                <a:close/>
                <a:moveTo>
                  <a:pt x="197" y="235"/>
                </a:moveTo>
                <a:lnTo>
                  <a:pt x="166" y="235"/>
                </a:lnTo>
                <a:lnTo>
                  <a:pt x="166" y="204"/>
                </a:lnTo>
                <a:lnTo>
                  <a:pt x="197" y="204"/>
                </a:lnTo>
                <a:lnTo>
                  <a:pt x="197" y="235"/>
                </a:lnTo>
                <a:close/>
                <a:moveTo>
                  <a:pt x="197" y="190"/>
                </a:moveTo>
                <a:lnTo>
                  <a:pt x="166" y="190"/>
                </a:lnTo>
                <a:lnTo>
                  <a:pt x="166" y="158"/>
                </a:lnTo>
                <a:lnTo>
                  <a:pt x="197" y="158"/>
                </a:lnTo>
                <a:lnTo>
                  <a:pt x="197" y="190"/>
                </a:lnTo>
                <a:close/>
                <a:moveTo>
                  <a:pt x="197" y="145"/>
                </a:moveTo>
                <a:lnTo>
                  <a:pt x="166" y="145"/>
                </a:lnTo>
                <a:lnTo>
                  <a:pt x="166" y="113"/>
                </a:lnTo>
                <a:lnTo>
                  <a:pt x="197" y="113"/>
                </a:lnTo>
                <a:lnTo>
                  <a:pt x="197" y="145"/>
                </a:lnTo>
                <a:close/>
                <a:moveTo>
                  <a:pt x="197" y="100"/>
                </a:moveTo>
                <a:lnTo>
                  <a:pt x="166" y="100"/>
                </a:lnTo>
                <a:lnTo>
                  <a:pt x="166" y="68"/>
                </a:lnTo>
                <a:lnTo>
                  <a:pt x="197" y="68"/>
                </a:lnTo>
                <a:lnTo>
                  <a:pt x="197" y="100"/>
                </a:lnTo>
                <a:close/>
                <a:moveTo>
                  <a:pt x="197" y="55"/>
                </a:moveTo>
                <a:lnTo>
                  <a:pt x="166" y="55"/>
                </a:lnTo>
                <a:lnTo>
                  <a:pt x="166" y="23"/>
                </a:lnTo>
                <a:lnTo>
                  <a:pt x="197" y="23"/>
                </a:lnTo>
                <a:lnTo>
                  <a:pt x="197" y="55"/>
                </a:lnTo>
                <a:close/>
                <a:moveTo>
                  <a:pt x="0" y="137"/>
                </a:moveTo>
                <a:lnTo>
                  <a:pt x="0" y="348"/>
                </a:lnTo>
                <a:lnTo>
                  <a:pt x="137" y="348"/>
                </a:lnTo>
                <a:lnTo>
                  <a:pt x="137" y="137"/>
                </a:lnTo>
                <a:lnTo>
                  <a:pt x="0" y="137"/>
                </a:lnTo>
                <a:close/>
                <a:moveTo>
                  <a:pt x="60" y="326"/>
                </a:moveTo>
                <a:lnTo>
                  <a:pt x="29" y="326"/>
                </a:lnTo>
                <a:lnTo>
                  <a:pt x="29" y="294"/>
                </a:lnTo>
                <a:lnTo>
                  <a:pt x="60" y="294"/>
                </a:lnTo>
                <a:lnTo>
                  <a:pt x="60" y="326"/>
                </a:lnTo>
                <a:close/>
                <a:moveTo>
                  <a:pt x="60" y="280"/>
                </a:moveTo>
                <a:lnTo>
                  <a:pt x="29" y="280"/>
                </a:lnTo>
                <a:lnTo>
                  <a:pt x="29" y="249"/>
                </a:lnTo>
                <a:lnTo>
                  <a:pt x="60" y="249"/>
                </a:lnTo>
                <a:lnTo>
                  <a:pt x="60" y="280"/>
                </a:lnTo>
                <a:close/>
                <a:moveTo>
                  <a:pt x="60" y="235"/>
                </a:moveTo>
                <a:lnTo>
                  <a:pt x="29" y="235"/>
                </a:lnTo>
                <a:lnTo>
                  <a:pt x="29" y="204"/>
                </a:lnTo>
                <a:lnTo>
                  <a:pt x="60" y="204"/>
                </a:lnTo>
                <a:lnTo>
                  <a:pt x="60" y="235"/>
                </a:lnTo>
                <a:close/>
                <a:moveTo>
                  <a:pt x="60" y="190"/>
                </a:moveTo>
                <a:lnTo>
                  <a:pt x="29" y="190"/>
                </a:lnTo>
                <a:lnTo>
                  <a:pt x="29" y="158"/>
                </a:lnTo>
                <a:lnTo>
                  <a:pt x="60" y="158"/>
                </a:lnTo>
                <a:lnTo>
                  <a:pt x="60" y="190"/>
                </a:lnTo>
                <a:close/>
                <a:moveTo>
                  <a:pt x="108" y="326"/>
                </a:moveTo>
                <a:lnTo>
                  <a:pt x="76" y="326"/>
                </a:lnTo>
                <a:lnTo>
                  <a:pt x="76" y="294"/>
                </a:lnTo>
                <a:lnTo>
                  <a:pt x="108" y="294"/>
                </a:lnTo>
                <a:lnTo>
                  <a:pt x="108" y="326"/>
                </a:lnTo>
                <a:close/>
                <a:moveTo>
                  <a:pt x="108" y="280"/>
                </a:moveTo>
                <a:lnTo>
                  <a:pt x="76" y="280"/>
                </a:lnTo>
                <a:lnTo>
                  <a:pt x="76" y="249"/>
                </a:lnTo>
                <a:lnTo>
                  <a:pt x="108" y="249"/>
                </a:lnTo>
                <a:lnTo>
                  <a:pt x="108" y="280"/>
                </a:lnTo>
                <a:close/>
                <a:moveTo>
                  <a:pt x="108" y="235"/>
                </a:moveTo>
                <a:lnTo>
                  <a:pt x="76" y="235"/>
                </a:lnTo>
                <a:lnTo>
                  <a:pt x="76" y="204"/>
                </a:lnTo>
                <a:lnTo>
                  <a:pt x="108" y="204"/>
                </a:lnTo>
                <a:lnTo>
                  <a:pt x="108" y="235"/>
                </a:lnTo>
                <a:close/>
                <a:moveTo>
                  <a:pt x="108" y="190"/>
                </a:moveTo>
                <a:lnTo>
                  <a:pt x="76" y="190"/>
                </a:lnTo>
                <a:lnTo>
                  <a:pt x="76" y="158"/>
                </a:lnTo>
                <a:lnTo>
                  <a:pt x="108" y="158"/>
                </a:lnTo>
                <a:lnTo>
                  <a:pt x="108" y="190"/>
                </a:lnTo>
                <a:close/>
              </a:path>
            </a:pathLst>
          </a:cu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243205" tIns="194555" rIns="243205" bIns="194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56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700" kern="0" spc="-67">
              <a:gradFill>
                <a:gsLst>
                  <a:gs pos="1250">
                    <a:srgbClr val="EFEFEF"/>
                  </a:gs>
                  <a:gs pos="10417">
                    <a:srgbClr val="EFEFEF"/>
                  </a:gs>
                </a:gsLst>
                <a:lin ang="5400000" scaled="0"/>
              </a:gra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3" name="Rounded Rectangle 42"/>
          <p:cNvSpPr/>
          <p:nvPr/>
        </p:nvSpPr>
        <p:spPr bwMode="auto">
          <a:xfrm>
            <a:off x="406359" y="2171404"/>
            <a:ext cx="1534435" cy="647593"/>
          </a:xfrm>
          <a:prstGeom prst="roundRect">
            <a:avLst>
              <a:gd name="adj" fmla="val 8795"/>
            </a:avLst>
          </a:prstGeom>
          <a:pattFill prst="ltUpDiag">
            <a:fgClr>
              <a:srgbClr val="CDCDCD"/>
            </a:fgClr>
            <a:bgClr>
              <a:srgbClr val="FFFFFF"/>
            </a:bgClr>
          </a:pattFill>
          <a:ln w="57150" cap="flat" cmpd="sng" algn="ctr">
            <a:solidFill>
              <a:srgbClr val="DC3C0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43297" tIns="194631" rIns="243297" bIns="19463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56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3200" kern="0" spc="-67" dirty="0">
              <a:gradFill>
                <a:gsLst>
                  <a:gs pos="36283">
                    <a:srgbClr val="FFFFFF"/>
                  </a:gs>
                  <a:gs pos="28000">
                    <a:srgbClr val="FFFFFF"/>
                  </a:gs>
                </a:gsLst>
                <a:lin ang="5400000" scaled="0"/>
              </a:gra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44" name="Group 43"/>
          <p:cNvGrpSpPr/>
          <p:nvPr/>
        </p:nvGrpSpPr>
        <p:grpSpPr>
          <a:xfrm>
            <a:off x="511754" y="2225441"/>
            <a:ext cx="1306629" cy="504843"/>
            <a:chOff x="2658144" y="4680514"/>
            <a:chExt cx="3087733" cy="1573112"/>
          </a:xfrm>
        </p:grpSpPr>
        <p:sp>
          <p:nvSpPr>
            <p:cNvPr id="45" name="Freeform 5"/>
            <p:cNvSpPr>
              <a:spLocks noEditPoints="1"/>
            </p:cNvSpPr>
            <p:nvPr/>
          </p:nvSpPr>
          <p:spPr bwMode="auto">
            <a:xfrm>
              <a:off x="2658144" y="4680514"/>
              <a:ext cx="942756" cy="410910"/>
            </a:xfrm>
            <a:custGeom>
              <a:avLst/>
              <a:gdLst>
                <a:gd name="T0" fmla="*/ 18 w 304"/>
                <a:gd name="T1" fmla="*/ 0 h 131"/>
                <a:gd name="T2" fmla="*/ 0 w 304"/>
                <a:gd name="T3" fmla="*/ 114 h 131"/>
                <a:gd name="T4" fmla="*/ 286 w 304"/>
                <a:gd name="T5" fmla="*/ 131 h 131"/>
                <a:gd name="T6" fmla="*/ 304 w 304"/>
                <a:gd name="T7" fmla="*/ 18 h 131"/>
                <a:gd name="T8" fmla="*/ 30 w 304"/>
                <a:gd name="T9" fmla="*/ 97 h 131"/>
                <a:gd name="T10" fmla="*/ 30 w 304"/>
                <a:gd name="T11" fmla="*/ 82 h 131"/>
                <a:gd name="T12" fmla="*/ 30 w 304"/>
                <a:gd name="T13" fmla="*/ 97 h 131"/>
                <a:gd name="T14" fmla="*/ 22 w 304"/>
                <a:gd name="T15" fmla="*/ 67 h 131"/>
                <a:gd name="T16" fmla="*/ 37 w 304"/>
                <a:gd name="T17" fmla="*/ 67 h 131"/>
                <a:gd name="T18" fmla="*/ 30 w 304"/>
                <a:gd name="T19" fmla="*/ 53 h 131"/>
                <a:gd name="T20" fmla="*/ 30 w 304"/>
                <a:gd name="T21" fmla="*/ 38 h 131"/>
                <a:gd name="T22" fmla="*/ 30 w 304"/>
                <a:gd name="T23" fmla="*/ 53 h 131"/>
                <a:gd name="T24" fmla="*/ 44 w 304"/>
                <a:gd name="T25" fmla="*/ 90 h 131"/>
                <a:gd name="T26" fmla="*/ 59 w 304"/>
                <a:gd name="T27" fmla="*/ 90 h 131"/>
                <a:gd name="T28" fmla="*/ 52 w 304"/>
                <a:gd name="T29" fmla="*/ 74 h 131"/>
                <a:gd name="T30" fmla="*/ 52 w 304"/>
                <a:gd name="T31" fmla="*/ 60 h 131"/>
                <a:gd name="T32" fmla="*/ 52 w 304"/>
                <a:gd name="T33" fmla="*/ 74 h 131"/>
                <a:gd name="T34" fmla="*/ 44 w 304"/>
                <a:gd name="T35" fmla="*/ 45 h 131"/>
                <a:gd name="T36" fmla="*/ 59 w 304"/>
                <a:gd name="T37" fmla="*/ 45 h 131"/>
                <a:gd name="T38" fmla="*/ 255 w 304"/>
                <a:gd name="T39" fmla="*/ 119 h 131"/>
                <a:gd name="T40" fmla="*/ 255 w 304"/>
                <a:gd name="T41" fmla="*/ 104 h 131"/>
                <a:gd name="T42" fmla="*/ 255 w 304"/>
                <a:gd name="T43" fmla="*/ 119 h 131"/>
                <a:gd name="T44" fmla="*/ 269 w 304"/>
                <a:gd name="T45" fmla="*/ 112 h 131"/>
                <a:gd name="T46" fmla="*/ 283 w 304"/>
                <a:gd name="T47" fmla="*/ 112 h 131"/>
                <a:gd name="T48" fmla="*/ 284 w 304"/>
                <a:gd name="T49" fmla="*/ 87 h 131"/>
                <a:gd name="T50" fmla="*/ 116 w 304"/>
                <a:gd name="T51" fmla="*/ 97 h 131"/>
                <a:gd name="T52" fmla="*/ 106 w 304"/>
                <a:gd name="T53" fmla="*/ 82 h 131"/>
                <a:gd name="T54" fmla="*/ 284 w 304"/>
                <a:gd name="T55" fmla="*/ 87 h 131"/>
                <a:gd name="T56" fmla="*/ 106 w 304"/>
                <a:gd name="T57" fmla="*/ 76 h 131"/>
                <a:gd name="T58" fmla="*/ 284 w 304"/>
                <a:gd name="T59" fmla="*/ 61 h 131"/>
                <a:gd name="T60" fmla="*/ 284 w 304"/>
                <a:gd name="T61" fmla="*/ 55 h 131"/>
                <a:gd name="T62" fmla="*/ 106 w 304"/>
                <a:gd name="T63" fmla="*/ 40 h 131"/>
                <a:gd name="T64" fmla="*/ 284 w 304"/>
                <a:gd name="T65" fmla="*/ 55 h 131"/>
                <a:gd name="T66" fmla="*/ 106 w 304"/>
                <a:gd name="T67" fmla="*/ 34 h 131"/>
                <a:gd name="T68" fmla="*/ 116 w 304"/>
                <a:gd name="T69" fmla="*/ 20 h 131"/>
                <a:gd name="T70" fmla="*/ 284 w 304"/>
                <a:gd name="T71" fmla="*/ 3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4" h="131">
                  <a:moveTo>
                    <a:pt x="286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24"/>
                    <a:pt x="8" y="131"/>
                    <a:pt x="18" y="131"/>
                  </a:cubicBezTo>
                  <a:cubicBezTo>
                    <a:pt x="286" y="131"/>
                    <a:pt x="286" y="131"/>
                    <a:pt x="286" y="131"/>
                  </a:cubicBezTo>
                  <a:cubicBezTo>
                    <a:pt x="296" y="131"/>
                    <a:pt x="304" y="124"/>
                    <a:pt x="304" y="114"/>
                  </a:cubicBezTo>
                  <a:cubicBezTo>
                    <a:pt x="304" y="18"/>
                    <a:pt x="304" y="18"/>
                    <a:pt x="304" y="18"/>
                  </a:cubicBezTo>
                  <a:cubicBezTo>
                    <a:pt x="304" y="8"/>
                    <a:pt x="296" y="0"/>
                    <a:pt x="286" y="0"/>
                  </a:cubicBezTo>
                  <a:close/>
                  <a:moveTo>
                    <a:pt x="30" y="97"/>
                  </a:moveTo>
                  <a:cubicBezTo>
                    <a:pt x="26" y="97"/>
                    <a:pt x="22" y="94"/>
                    <a:pt x="22" y="90"/>
                  </a:cubicBezTo>
                  <a:cubicBezTo>
                    <a:pt x="22" y="86"/>
                    <a:pt x="26" y="82"/>
                    <a:pt x="30" y="82"/>
                  </a:cubicBezTo>
                  <a:cubicBezTo>
                    <a:pt x="34" y="82"/>
                    <a:pt x="37" y="86"/>
                    <a:pt x="37" y="90"/>
                  </a:cubicBezTo>
                  <a:cubicBezTo>
                    <a:pt x="37" y="94"/>
                    <a:pt x="34" y="97"/>
                    <a:pt x="30" y="97"/>
                  </a:cubicBezTo>
                  <a:close/>
                  <a:moveTo>
                    <a:pt x="30" y="74"/>
                  </a:moveTo>
                  <a:cubicBezTo>
                    <a:pt x="26" y="74"/>
                    <a:pt x="22" y="71"/>
                    <a:pt x="22" y="67"/>
                  </a:cubicBezTo>
                  <a:cubicBezTo>
                    <a:pt x="22" y="63"/>
                    <a:pt x="26" y="60"/>
                    <a:pt x="30" y="60"/>
                  </a:cubicBezTo>
                  <a:cubicBezTo>
                    <a:pt x="34" y="60"/>
                    <a:pt x="37" y="63"/>
                    <a:pt x="37" y="67"/>
                  </a:cubicBezTo>
                  <a:cubicBezTo>
                    <a:pt x="37" y="71"/>
                    <a:pt x="34" y="74"/>
                    <a:pt x="30" y="74"/>
                  </a:cubicBezTo>
                  <a:close/>
                  <a:moveTo>
                    <a:pt x="30" y="53"/>
                  </a:moveTo>
                  <a:cubicBezTo>
                    <a:pt x="26" y="53"/>
                    <a:pt x="22" y="49"/>
                    <a:pt x="22" y="45"/>
                  </a:cubicBezTo>
                  <a:cubicBezTo>
                    <a:pt x="22" y="41"/>
                    <a:pt x="26" y="38"/>
                    <a:pt x="30" y="38"/>
                  </a:cubicBezTo>
                  <a:cubicBezTo>
                    <a:pt x="34" y="38"/>
                    <a:pt x="37" y="41"/>
                    <a:pt x="37" y="45"/>
                  </a:cubicBezTo>
                  <a:cubicBezTo>
                    <a:pt x="37" y="49"/>
                    <a:pt x="34" y="53"/>
                    <a:pt x="30" y="53"/>
                  </a:cubicBezTo>
                  <a:close/>
                  <a:moveTo>
                    <a:pt x="52" y="97"/>
                  </a:moveTo>
                  <a:cubicBezTo>
                    <a:pt x="48" y="97"/>
                    <a:pt x="44" y="94"/>
                    <a:pt x="44" y="90"/>
                  </a:cubicBezTo>
                  <a:cubicBezTo>
                    <a:pt x="44" y="86"/>
                    <a:pt x="48" y="82"/>
                    <a:pt x="52" y="82"/>
                  </a:cubicBezTo>
                  <a:cubicBezTo>
                    <a:pt x="56" y="82"/>
                    <a:pt x="59" y="86"/>
                    <a:pt x="59" y="90"/>
                  </a:cubicBezTo>
                  <a:cubicBezTo>
                    <a:pt x="59" y="94"/>
                    <a:pt x="56" y="97"/>
                    <a:pt x="52" y="97"/>
                  </a:cubicBezTo>
                  <a:close/>
                  <a:moveTo>
                    <a:pt x="52" y="74"/>
                  </a:moveTo>
                  <a:cubicBezTo>
                    <a:pt x="48" y="74"/>
                    <a:pt x="44" y="71"/>
                    <a:pt x="44" y="67"/>
                  </a:cubicBezTo>
                  <a:cubicBezTo>
                    <a:pt x="44" y="63"/>
                    <a:pt x="48" y="60"/>
                    <a:pt x="52" y="60"/>
                  </a:cubicBezTo>
                  <a:cubicBezTo>
                    <a:pt x="56" y="60"/>
                    <a:pt x="59" y="63"/>
                    <a:pt x="59" y="67"/>
                  </a:cubicBezTo>
                  <a:cubicBezTo>
                    <a:pt x="59" y="71"/>
                    <a:pt x="56" y="74"/>
                    <a:pt x="52" y="74"/>
                  </a:cubicBezTo>
                  <a:close/>
                  <a:moveTo>
                    <a:pt x="52" y="53"/>
                  </a:moveTo>
                  <a:cubicBezTo>
                    <a:pt x="48" y="53"/>
                    <a:pt x="44" y="49"/>
                    <a:pt x="44" y="45"/>
                  </a:cubicBezTo>
                  <a:cubicBezTo>
                    <a:pt x="44" y="41"/>
                    <a:pt x="48" y="38"/>
                    <a:pt x="52" y="38"/>
                  </a:cubicBezTo>
                  <a:cubicBezTo>
                    <a:pt x="56" y="38"/>
                    <a:pt x="59" y="41"/>
                    <a:pt x="59" y="45"/>
                  </a:cubicBezTo>
                  <a:cubicBezTo>
                    <a:pt x="59" y="49"/>
                    <a:pt x="56" y="53"/>
                    <a:pt x="52" y="53"/>
                  </a:cubicBezTo>
                  <a:close/>
                  <a:moveTo>
                    <a:pt x="255" y="119"/>
                  </a:moveTo>
                  <a:cubicBezTo>
                    <a:pt x="251" y="119"/>
                    <a:pt x="248" y="116"/>
                    <a:pt x="248" y="112"/>
                  </a:cubicBezTo>
                  <a:cubicBezTo>
                    <a:pt x="248" y="108"/>
                    <a:pt x="251" y="104"/>
                    <a:pt x="255" y="104"/>
                  </a:cubicBezTo>
                  <a:cubicBezTo>
                    <a:pt x="259" y="104"/>
                    <a:pt x="262" y="108"/>
                    <a:pt x="262" y="112"/>
                  </a:cubicBezTo>
                  <a:cubicBezTo>
                    <a:pt x="262" y="116"/>
                    <a:pt x="259" y="119"/>
                    <a:pt x="255" y="119"/>
                  </a:cubicBezTo>
                  <a:close/>
                  <a:moveTo>
                    <a:pt x="276" y="119"/>
                  </a:moveTo>
                  <a:cubicBezTo>
                    <a:pt x="272" y="119"/>
                    <a:pt x="269" y="116"/>
                    <a:pt x="269" y="112"/>
                  </a:cubicBezTo>
                  <a:cubicBezTo>
                    <a:pt x="269" y="108"/>
                    <a:pt x="272" y="104"/>
                    <a:pt x="276" y="104"/>
                  </a:cubicBezTo>
                  <a:cubicBezTo>
                    <a:pt x="280" y="104"/>
                    <a:pt x="283" y="108"/>
                    <a:pt x="283" y="112"/>
                  </a:cubicBezTo>
                  <a:cubicBezTo>
                    <a:pt x="283" y="116"/>
                    <a:pt x="280" y="119"/>
                    <a:pt x="276" y="119"/>
                  </a:cubicBezTo>
                  <a:close/>
                  <a:moveTo>
                    <a:pt x="284" y="87"/>
                  </a:moveTo>
                  <a:cubicBezTo>
                    <a:pt x="284" y="92"/>
                    <a:pt x="279" y="97"/>
                    <a:pt x="273" y="97"/>
                  </a:cubicBezTo>
                  <a:cubicBezTo>
                    <a:pt x="116" y="97"/>
                    <a:pt x="116" y="97"/>
                    <a:pt x="116" y="97"/>
                  </a:cubicBezTo>
                  <a:cubicBezTo>
                    <a:pt x="110" y="97"/>
                    <a:pt x="106" y="92"/>
                    <a:pt x="106" y="87"/>
                  </a:cubicBezTo>
                  <a:cubicBezTo>
                    <a:pt x="106" y="82"/>
                    <a:pt x="106" y="82"/>
                    <a:pt x="106" y="82"/>
                  </a:cubicBezTo>
                  <a:cubicBezTo>
                    <a:pt x="284" y="82"/>
                    <a:pt x="284" y="82"/>
                    <a:pt x="284" y="82"/>
                  </a:cubicBezTo>
                  <a:lnTo>
                    <a:pt x="284" y="87"/>
                  </a:lnTo>
                  <a:close/>
                  <a:moveTo>
                    <a:pt x="284" y="76"/>
                  </a:moveTo>
                  <a:cubicBezTo>
                    <a:pt x="106" y="76"/>
                    <a:pt x="106" y="76"/>
                    <a:pt x="106" y="76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284" y="61"/>
                    <a:pt x="284" y="61"/>
                    <a:pt x="284" y="61"/>
                  </a:cubicBezTo>
                  <a:lnTo>
                    <a:pt x="284" y="76"/>
                  </a:lnTo>
                  <a:close/>
                  <a:moveTo>
                    <a:pt x="284" y="55"/>
                  </a:moveTo>
                  <a:cubicBezTo>
                    <a:pt x="106" y="55"/>
                    <a:pt x="106" y="55"/>
                    <a:pt x="106" y="55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284" y="40"/>
                    <a:pt x="284" y="40"/>
                    <a:pt x="284" y="40"/>
                  </a:cubicBezTo>
                  <a:lnTo>
                    <a:pt x="284" y="55"/>
                  </a:lnTo>
                  <a:close/>
                  <a:moveTo>
                    <a:pt x="284" y="34"/>
                  </a:moveTo>
                  <a:cubicBezTo>
                    <a:pt x="106" y="34"/>
                    <a:pt x="106" y="34"/>
                    <a:pt x="106" y="34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06" y="25"/>
                    <a:pt x="110" y="20"/>
                    <a:pt x="116" y="20"/>
                  </a:cubicBezTo>
                  <a:cubicBezTo>
                    <a:pt x="273" y="20"/>
                    <a:pt x="273" y="20"/>
                    <a:pt x="273" y="20"/>
                  </a:cubicBezTo>
                  <a:cubicBezTo>
                    <a:pt x="279" y="20"/>
                    <a:pt x="284" y="25"/>
                    <a:pt x="284" y="30"/>
                  </a:cubicBezTo>
                  <a:lnTo>
                    <a:pt x="284" y="34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40395">
                <a:defRPr/>
              </a:pPr>
              <a:endParaRPr lang="en-US" sz="2400" ker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3745964" y="4680514"/>
              <a:ext cx="942756" cy="410910"/>
            </a:xfrm>
            <a:custGeom>
              <a:avLst/>
              <a:gdLst>
                <a:gd name="T0" fmla="*/ 18 w 304"/>
                <a:gd name="T1" fmla="*/ 0 h 131"/>
                <a:gd name="T2" fmla="*/ 0 w 304"/>
                <a:gd name="T3" fmla="*/ 114 h 131"/>
                <a:gd name="T4" fmla="*/ 286 w 304"/>
                <a:gd name="T5" fmla="*/ 131 h 131"/>
                <a:gd name="T6" fmla="*/ 304 w 304"/>
                <a:gd name="T7" fmla="*/ 18 h 131"/>
                <a:gd name="T8" fmla="*/ 30 w 304"/>
                <a:gd name="T9" fmla="*/ 97 h 131"/>
                <a:gd name="T10" fmla="*/ 30 w 304"/>
                <a:gd name="T11" fmla="*/ 82 h 131"/>
                <a:gd name="T12" fmla="*/ 30 w 304"/>
                <a:gd name="T13" fmla="*/ 97 h 131"/>
                <a:gd name="T14" fmla="*/ 22 w 304"/>
                <a:gd name="T15" fmla="*/ 67 h 131"/>
                <a:gd name="T16" fmla="*/ 37 w 304"/>
                <a:gd name="T17" fmla="*/ 67 h 131"/>
                <a:gd name="T18" fmla="*/ 30 w 304"/>
                <a:gd name="T19" fmla="*/ 53 h 131"/>
                <a:gd name="T20" fmla="*/ 30 w 304"/>
                <a:gd name="T21" fmla="*/ 38 h 131"/>
                <a:gd name="T22" fmla="*/ 30 w 304"/>
                <a:gd name="T23" fmla="*/ 53 h 131"/>
                <a:gd name="T24" fmla="*/ 44 w 304"/>
                <a:gd name="T25" fmla="*/ 90 h 131"/>
                <a:gd name="T26" fmla="*/ 59 w 304"/>
                <a:gd name="T27" fmla="*/ 90 h 131"/>
                <a:gd name="T28" fmla="*/ 52 w 304"/>
                <a:gd name="T29" fmla="*/ 74 h 131"/>
                <a:gd name="T30" fmla="*/ 52 w 304"/>
                <a:gd name="T31" fmla="*/ 60 h 131"/>
                <a:gd name="T32" fmla="*/ 52 w 304"/>
                <a:gd name="T33" fmla="*/ 74 h 131"/>
                <a:gd name="T34" fmla="*/ 44 w 304"/>
                <a:gd name="T35" fmla="*/ 45 h 131"/>
                <a:gd name="T36" fmla="*/ 59 w 304"/>
                <a:gd name="T37" fmla="*/ 45 h 131"/>
                <a:gd name="T38" fmla="*/ 255 w 304"/>
                <a:gd name="T39" fmla="*/ 119 h 131"/>
                <a:gd name="T40" fmla="*/ 255 w 304"/>
                <a:gd name="T41" fmla="*/ 104 h 131"/>
                <a:gd name="T42" fmla="*/ 255 w 304"/>
                <a:gd name="T43" fmla="*/ 119 h 131"/>
                <a:gd name="T44" fmla="*/ 269 w 304"/>
                <a:gd name="T45" fmla="*/ 112 h 131"/>
                <a:gd name="T46" fmla="*/ 283 w 304"/>
                <a:gd name="T47" fmla="*/ 112 h 131"/>
                <a:gd name="T48" fmla="*/ 284 w 304"/>
                <a:gd name="T49" fmla="*/ 87 h 131"/>
                <a:gd name="T50" fmla="*/ 116 w 304"/>
                <a:gd name="T51" fmla="*/ 97 h 131"/>
                <a:gd name="T52" fmla="*/ 106 w 304"/>
                <a:gd name="T53" fmla="*/ 82 h 131"/>
                <a:gd name="T54" fmla="*/ 284 w 304"/>
                <a:gd name="T55" fmla="*/ 87 h 131"/>
                <a:gd name="T56" fmla="*/ 106 w 304"/>
                <a:gd name="T57" fmla="*/ 76 h 131"/>
                <a:gd name="T58" fmla="*/ 284 w 304"/>
                <a:gd name="T59" fmla="*/ 61 h 131"/>
                <a:gd name="T60" fmla="*/ 284 w 304"/>
                <a:gd name="T61" fmla="*/ 55 h 131"/>
                <a:gd name="T62" fmla="*/ 106 w 304"/>
                <a:gd name="T63" fmla="*/ 40 h 131"/>
                <a:gd name="T64" fmla="*/ 284 w 304"/>
                <a:gd name="T65" fmla="*/ 55 h 131"/>
                <a:gd name="T66" fmla="*/ 106 w 304"/>
                <a:gd name="T67" fmla="*/ 34 h 131"/>
                <a:gd name="T68" fmla="*/ 116 w 304"/>
                <a:gd name="T69" fmla="*/ 20 h 131"/>
                <a:gd name="T70" fmla="*/ 284 w 304"/>
                <a:gd name="T71" fmla="*/ 3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4" h="131">
                  <a:moveTo>
                    <a:pt x="286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24"/>
                    <a:pt x="8" y="131"/>
                    <a:pt x="18" y="131"/>
                  </a:cubicBezTo>
                  <a:cubicBezTo>
                    <a:pt x="286" y="131"/>
                    <a:pt x="286" y="131"/>
                    <a:pt x="286" y="131"/>
                  </a:cubicBezTo>
                  <a:cubicBezTo>
                    <a:pt x="296" y="131"/>
                    <a:pt x="304" y="124"/>
                    <a:pt x="304" y="114"/>
                  </a:cubicBezTo>
                  <a:cubicBezTo>
                    <a:pt x="304" y="18"/>
                    <a:pt x="304" y="18"/>
                    <a:pt x="304" y="18"/>
                  </a:cubicBezTo>
                  <a:cubicBezTo>
                    <a:pt x="304" y="8"/>
                    <a:pt x="296" y="0"/>
                    <a:pt x="286" y="0"/>
                  </a:cubicBezTo>
                  <a:close/>
                  <a:moveTo>
                    <a:pt x="30" y="97"/>
                  </a:moveTo>
                  <a:cubicBezTo>
                    <a:pt x="26" y="97"/>
                    <a:pt x="22" y="94"/>
                    <a:pt x="22" y="90"/>
                  </a:cubicBezTo>
                  <a:cubicBezTo>
                    <a:pt x="22" y="86"/>
                    <a:pt x="26" y="82"/>
                    <a:pt x="30" y="82"/>
                  </a:cubicBezTo>
                  <a:cubicBezTo>
                    <a:pt x="34" y="82"/>
                    <a:pt x="37" y="86"/>
                    <a:pt x="37" y="90"/>
                  </a:cubicBezTo>
                  <a:cubicBezTo>
                    <a:pt x="37" y="94"/>
                    <a:pt x="34" y="97"/>
                    <a:pt x="30" y="97"/>
                  </a:cubicBezTo>
                  <a:close/>
                  <a:moveTo>
                    <a:pt x="30" y="74"/>
                  </a:moveTo>
                  <a:cubicBezTo>
                    <a:pt x="26" y="74"/>
                    <a:pt x="22" y="71"/>
                    <a:pt x="22" y="67"/>
                  </a:cubicBezTo>
                  <a:cubicBezTo>
                    <a:pt x="22" y="63"/>
                    <a:pt x="26" y="60"/>
                    <a:pt x="30" y="60"/>
                  </a:cubicBezTo>
                  <a:cubicBezTo>
                    <a:pt x="34" y="60"/>
                    <a:pt x="37" y="63"/>
                    <a:pt x="37" y="67"/>
                  </a:cubicBezTo>
                  <a:cubicBezTo>
                    <a:pt x="37" y="71"/>
                    <a:pt x="34" y="74"/>
                    <a:pt x="30" y="74"/>
                  </a:cubicBezTo>
                  <a:close/>
                  <a:moveTo>
                    <a:pt x="30" y="53"/>
                  </a:moveTo>
                  <a:cubicBezTo>
                    <a:pt x="26" y="53"/>
                    <a:pt x="22" y="49"/>
                    <a:pt x="22" y="45"/>
                  </a:cubicBezTo>
                  <a:cubicBezTo>
                    <a:pt x="22" y="41"/>
                    <a:pt x="26" y="38"/>
                    <a:pt x="30" y="38"/>
                  </a:cubicBezTo>
                  <a:cubicBezTo>
                    <a:pt x="34" y="38"/>
                    <a:pt x="37" y="41"/>
                    <a:pt x="37" y="45"/>
                  </a:cubicBezTo>
                  <a:cubicBezTo>
                    <a:pt x="37" y="49"/>
                    <a:pt x="34" y="53"/>
                    <a:pt x="30" y="53"/>
                  </a:cubicBezTo>
                  <a:close/>
                  <a:moveTo>
                    <a:pt x="52" y="97"/>
                  </a:moveTo>
                  <a:cubicBezTo>
                    <a:pt x="48" y="97"/>
                    <a:pt x="44" y="94"/>
                    <a:pt x="44" y="90"/>
                  </a:cubicBezTo>
                  <a:cubicBezTo>
                    <a:pt x="44" y="86"/>
                    <a:pt x="48" y="82"/>
                    <a:pt x="52" y="82"/>
                  </a:cubicBezTo>
                  <a:cubicBezTo>
                    <a:pt x="56" y="82"/>
                    <a:pt x="59" y="86"/>
                    <a:pt x="59" y="90"/>
                  </a:cubicBezTo>
                  <a:cubicBezTo>
                    <a:pt x="59" y="94"/>
                    <a:pt x="56" y="97"/>
                    <a:pt x="52" y="97"/>
                  </a:cubicBezTo>
                  <a:close/>
                  <a:moveTo>
                    <a:pt x="52" y="74"/>
                  </a:moveTo>
                  <a:cubicBezTo>
                    <a:pt x="48" y="74"/>
                    <a:pt x="44" y="71"/>
                    <a:pt x="44" y="67"/>
                  </a:cubicBezTo>
                  <a:cubicBezTo>
                    <a:pt x="44" y="63"/>
                    <a:pt x="48" y="60"/>
                    <a:pt x="52" y="60"/>
                  </a:cubicBezTo>
                  <a:cubicBezTo>
                    <a:pt x="56" y="60"/>
                    <a:pt x="59" y="63"/>
                    <a:pt x="59" y="67"/>
                  </a:cubicBezTo>
                  <a:cubicBezTo>
                    <a:pt x="59" y="71"/>
                    <a:pt x="56" y="74"/>
                    <a:pt x="52" y="74"/>
                  </a:cubicBezTo>
                  <a:close/>
                  <a:moveTo>
                    <a:pt x="52" y="53"/>
                  </a:moveTo>
                  <a:cubicBezTo>
                    <a:pt x="48" y="53"/>
                    <a:pt x="44" y="49"/>
                    <a:pt x="44" y="45"/>
                  </a:cubicBezTo>
                  <a:cubicBezTo>
                    <a:pt x="44" y="41"/>
                    <a:pt x="48" y="38"/>
                    <a:pt x="52" y="38"/>
                  </a:cubicBezTo>
                  <a:cubicBezTo>
                    <a:pt x="56" y="38"/>
                    <a:pt x="59" y="41"/>
                    <a:pt x="59" y="45"/>
                  </a:cubicBezTo>
                  <a:cubicBezTo>
                    <a:pt x="59" y="49"/>
                    <a:pt x="56" y="53"/>
                    <a:pt x="52" y="53"/>
                  </a:cubicBezTo>
                  <a:close/>
                  <a:moveTo>
                    <a:pt x="255" y="119"/>
                  </a:moveTo>
                  <a:cubicBezTo>
                    <a:pt x="251" y="119"/>
                    <a:pt x="248" y="116"/>
                    <a:pt x="248" y="112"/>
                  </a:cubicBezTo>
                  <a:cubicBezTo>
                    <a:pt x="248" y="108"/>
                    <a:pt x="251" y="104"/>
                    <a:pt x="255" y="104"/>
                  </a:cubicBezTo>
                  <a:cubicBezTo>
                    <a:pt x="259" y="104"/>
                    <a:pt x="262" y="108"/>
                    <a:pt x="262" y="112"/>
                  </a:cubicBezTo>
                  <a:cubicBezTo>
                    <a:pt x="262" y="116"/>
                    <a:pt x="259" y="119"/>
                    <a:pt x="255" y="119"/>
                  </a:cubicBezTo>
                  <a:close/>
                  <a:moveTo>
                    <a:pt x="276" y="119"/>
                  </a:moveTo>
                  <a:cubicBezTo>
                    <a:pt x="272" y="119"/>
                    <a:pt x="269" y="116"/>
                    <a:pt x="269" y="112"/>
                  </a:cubicBezTo>
                  <a:cubicBezTo>
                    <a:pt x="269" y="108"/>
                    <a:pt x="272" y="104"/>
                    <a:pt x="276" y="104"/>
                  </a:cubicBezTo>
                  <a:cubicBezTo>
                    <a:pt x="280" y="104"/>
                    <a:pt x="283" y="108"/>
                    <a:pt x="283" y="112"/>
                  </a:cubicBezTo>
                  <a:cubicBezTo>
                    <a:pt x="283" y="116"/>
                    <a:pt x="280" y="119"/>
                    <a:pt x="276" y="119"/>
                  </a:cubicBezTo>
                  <a:close/>
                  <a:moveTo>
                    <a:pt x="284" y="87"/>
                  </a:moveTo>
                  <a:cubicBezTo>
                    <a:pt x="284" y="92"/>
                    <a:pt x="279" y="97"/>
                    <a:pt x="273" y="97"/>
                  </a:cubicBezTo>
                  <a:cubicBezTo>
                    <a:pt x="116" y="97"/>
                    <a:pt x="116" y="97"/>
                    <a:pt x="116" y="97"/>
                  </a:cubicBezTo>
                  <a:cubicBezTo>
                    <a:pt x="110" y="97"/>
                    <a:pt x="106" y="92"/>
                    <a:pt x="106" y="87"/>
                  </a:cubicBezTo>
                  <a:cubicBezTo>
                    <a:pt x="106" y="82"/>
                    <a:pt x="106" y="82"/>
                    <a:pt x="106" y="82"/>
                  </a:cubicBezTo>
                  <a:cubicBezTo>
                    <a:pt x="284" y="82"/>
                    <a:pt x="284" y="82"/>
                    <a:pt x="284" y="82"/>
                  </a:cubicBezTo>
                  <a:lnTo>
                    <a:pt x="284" y="87"/>
                  </a:lnTo>
                  <a:close/>
                  <a:moveTo>
                    <a:pt x="284" y="76"/>
                  </a:moveTo>
                  <a:cubicBezTo>
                    <a:pt x="106" y="76"/>
                    <a:pt x="106" y="76"/>
                    <a:pt x="106" y="76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284" y="61"/>
                    <a:pt x="284" y="61"/>
                    <a:pt x="284" y="61"/>
                  </a:cubicBezTo>
                  <a:lnTo>
                    <a:pt x="284" y="76"/>
                  </a:lnTo>
                  <a:close/>
                  <a:moveTo>
                    <a:pt x="284" y="55"/>
                  </a:moveTo>
                  <a:cubicBezTo>
                    <a:pt x="106" y="55"/>
                    <a:pt x="106" y="55"/>
                    <a:pt x="106" y="55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284" y="40"/>
                    <a:pt x="284" y="40"/>
                    <a:pt x="284" y="40"/>
                  </a:cubicBezTo>
                  <a:lnTo>
                    <a:pt x="284" y="55"/>
                  </a:lnTo>
                  <a:close/>
                  <a:moveTo>
                    <a:pt x="284" y="34"/>
                  </a:moveTo>
                  <a:cubicBezTo>
                    <a:pt x="106" y="34"/>
                    <a:pt x="106" y="34"/>
                    <a:pt x="106" y="34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06" y="25"/>
                    <a:pt x="110" y="20"/>
                    <a:pt x="116" y="20"/>
                  </a:cubicBezTo>
                  <a:cubicBezTo>
                    <a:pt x="273" y="20"/>
                    <a:pt x="273" y="20"/>
                    <a:pt x="273" y="20"/>
                  </a:cubicBezTo>
                  <a:cubicBezTo>
                    <a:pt x="279" y="20"/>
                    <a:pt x="284" y="25"/>
                    <a:pt x="284" y="30"/>
                  </a:cubicBezTo>
                  <a:lnTo>
                    <a:pt x="284" y="34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40395">
                <a:defRPr/>
              </a:pPr>
              <a:endParaRPr lang="en-US" sz="2400" ker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auto">
            <a:xfrm>
              <a:off x="4803121" y="4680514"/>
              <a:ext cx="942756" cy="410910"/>
            </a:xfrm>
            <a:custGeom>
              <a:avLst/>
              <a:gdLst>
                <a:gd name="T0" fmla="*/ 18 w 304"/>
                <a:gd name="T1" fmla="*/ 0 h 131"/>
                <a:gd name="T2" fmla="*/ 0 w 304"/>
                <a:gd name="T3" fmla="*/ 114 h 131"/>
                <a:gd name="T4" fmla="*/ 286 w 304"/>
                <a:gd name="T5" fmla="*/ 131 h 131"/>
                <a:gd name="T6" fmla="*/ 304 w 304"/>
                <a:gd name="T7" fmla="*/ 18 h 131"/>
                <a:gd name="T8" fmla="*/ 30 w 304"/>
                <a:gd name="T9" fmla="*/ 97 h 131"/>
                <a:gd name="T10" fmla="*/ 30 w 304"/>
                <a:gd name="T11" fmla="*/ 82 h 131"/>
                <a:gd name="T12" fmla="*/ 30 w 304"/>
                <a:gd name="T13" fmla="*/ 97 h 131"/>
                <a:gd name="T14" fmla="*/ 22 w 304"/>
                <a:gd name="T15" fmla="*/ 67 h 131"/>
                <a:gd name="T16" fmla="*/ 37 w 304"/>
                <a:gd name="T17" fmla="*/ 67 h 131"/>
                <a:gd name="T18" fmla="*/ 30 w 304"/>
                <a:gd name="T19" fmla="*/ 53 h 131"/>
                <a:gd name="T20" fmla="*/ 30 w 304"/>
                <a:gd name="T21" fmla="*/ 38 h 131"/>
                <a:gd name="T22" fmla="*/ 30 w 304"/>
                <a:gd name="T23" fmla="*/ 53 h 131"/>
                <a:gd name="T24" fmla="*/ 44 w 304"/>
                <a:gd name="T25" fmla="*/ 90 h 131"/>
                <a:gd name="T26" fmla="*/ 59 w 304"/>
                <a:gd name="T27" fmla="*/ 90 h 131"/>
                <a:gd name="T28" fmla="*/ 52 w 304"/>
                <a:gd name="T29" fmla="*/ 74 h 131"/>
                <a:gd name="T30" fmla="*/ 52 w 304"/>
                <a:gd name="T31" fmla="*/ 60 h 131"/>
                <a:gd name="T32" fmla="*/ 52 w 304"/>
                <a:gd name="T33" fmla="*/ 74 h 131"/>
                <a:gd name="T34" fmla="*/ 44 w 304"/>
                <a:gd name="T35" fmla="*/ 45 h 131"/>
                <a:gd name="T36" fmla="*/ 59 w 304"/>
                <a:gd name="T37" fmla="*/ 45 h 131"/>
                <a:gd name="T38" fmla="*/ 255 w 304"/>
                <a:gd name="T39" fmla="*/ 119 h 131"/>
                <a:gd name="T40" fmla="*/ 255 w 304"/>
                <a:gd name="T41" fmla="*/ 104 h 131"/>
                <a:gd name="T42" fmla="*/ 255 w 304"/>
                <a:gd name="T43" fmla="*/ 119 h 131"/>
                <a:gd name="T44" fmla="*/ 269 w 304"/>
                <a:gd name="T45" fmla="*/ 112 h 131"/>
                <a:gd name="T46" fmla="*/ 283 w 304"/>
                <a:gd name="T47" fmla="*/ 112 h 131"/>
                <a:gd name="T48" fmla="*/ 284 w 304"/>
                <a:gd name="T49" fmla="*/ 87 h 131"/>
                <a:gd name="T50" fmla="*/ 116 w 304"/>
                <a:gd name="T51" fmla="*/ 97 h 131"/>
                <a:gd name="T52" fmla="*/ 106 w 304"/>
                <a:gd name="T53" fmla="*/ 82 h 131"/>
                <a:gd name="T54" fmla="*/ 284 w 304"/>
                <a:gd name="T55" fmla="*/ 87 h 131"/>
                <a:gd name="T56" fmla="*/ 106 w 304"/>
                <a:gd name="T57" fmla="*/ 76 h 131"/>
                <a:gd name="T58" fmla="*/ 284 w 304"/>
                <a:gd name="T59" fmla="*/ 61 h 131"/>
                <a:gd name="T60" fmla="*/ 284 w 304"/>
                <a:gd name="T61" fmla="*/ 55 h 131"/>
                <a:gd name="T62" fmla="*/ 106 w 304"/>
                <a:gd name="T63" fmla="*/ 40 h 131"/>
                <a:gd name="T64" fmla="*/ 284 w 304"/>
                <a:gd name="T65" fmla="*/ 55 h 131"/>
                <a:gd name="T66" fmla="*/ 106 w 304"/>
                <a:gd name="T67" fmla="*/ 34 h 131"/>
                <a:gd name="T68" fmla="*/ 116 w 304"/>
                <a:gd name="T69" fmla="*/ 20 h 131"/>
                <a:gd name="T70" fmla="*/ 284 w 304"/>
                <a:gd name="T71" fmla="*/ 3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4" h="131">
                  <a:moveTo>
                    <a:pt x="286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24"/>
                    <a:pt x="8" y="131"/>
                    <a:pt x="18" y="131"/>
                  </a:cubicBezTo>
                  <a:cubicBezTo>
                    <a:pt x="286" y="131"/>
                    <a:pt x="286" y="131"/>
                    <a:pt x="286" y="131"/>
                  </a:cubicBezTo>
                  <a:cubicBezTo>
                    <a:pt x="296" y="131"/>
                    <a:pt x="304" y="124"/>
                    <a:pt x="304" y="114"/>
                  </a:cubicBezTo>
                  <a:cubicBezTo>
                    <a:pt x="304" y="18"/>
                    <a:pt x="304" y="18"/>
                    <a:pt x="304" y="18"/>
                  </a:cubicBezTo>
                  <a:cubicBezTo>
                    <a:pt x="304" y="8"/>
                    <a:pt x="296" y="0"/>
                    <a:pt x="286" y="0"/>
                  </a:cubicBezTo>
                  <a:close/>
                  <a:moveTo>
                    <a:pt x="30" y="97"/>
                  </a:moveTo>
                  <a:cubicBezTo>
                    <a:pt x="26" y="97"/>
                    <a:pt x="22" y="94"/>
                    <a:pt x="22" y="90"/>
                  </a:cubicBezTo>
                  <a:cubicBezTo>
                    <a:pt x="22" y="86"/>
                    <a:pt x="26" y="82"/>
                    <a:pt x="30" y="82"/>
                  </a:cubicBezTo>
                  <a:cubicBezTo>
                    <a:pt x="34" y="82"/>
                    <a:pt x="37" y="86"/>
                    <a:pt x="37" y="90"/>
                  </a:cubicBezTo>
                  <a:cubicBezTo>
                    <a:pt x="37" y="94"/>
                    <a:pt x="34" y="97"/>
                    <a:pt x="30" y="97"/>
                  </a:cubicBezTo>
                  <a:close/>
                  <a:moveTo>
                    <a:pt x="30" y="74"/>
                  </a:moveTo>
                  <a:cubicBezTo>
                    <a:pt x="26" y="74"/>
                    <a:pt x="22" y="71"/>
                    <a:pt x="22" y="67"/>
                  </a:cubicBezTo>
                  <a:cubicBezTo>
                    <a:pt x="22" y="63"/>
                    <a:pt x="26" y="60"/>
                    <a:pt x="30" y="60"/>
                  </a:cubicBezTo>
                  <a:cubicBezTo>
                    <a:pt x="34" y="60"/>
                    <a:pt x="37" y="63"/>
                    <a:pt x="37" y="67"/>
                  </a:cubicBezTo>
                  <a:cubicBezTo>
                    <a:pt x="37" y="71"/>
                    <a:pt x="34" y="74"/>
                    <a:pt x="30" y="74"/>
                  </a:cubicBezTo>
                  <a:close/>
                  <a:moveTo>
                    <a:pt x="30" y="53"/>
                  </a:moveTo>
                  <a:cubicBezTo>
                    <a:pt x="26" y="53"/>
                    <a:pt x="22" y="49"/>
                    <a:pt x="22" y="45"/>
                  </a:cubicBezTo>
                  <a:cubicBezTo>
                    <a:pt x="22" y="41"/>
                    <a:pt x="26" y="38"/>
                    <a:pt x="30" y="38"/>
                  </a:cubicBezTo>
                  <a:cubicBezTo>
                    <a:pt x="34" y="38"/>
                    <a:pt x="37" y="41"/>
                    <a:pt x="37" y="45"/>
                  </a:cubicBezTo>
                  <a:cubicBezTo>
                    <a:pt x="37" y="49"/>
                    <a:pt x="34" y="53"/>
                    <a:pt x="30" y="53"/>
                  </a:cubicBezTo>
                  <a:close/>
                  <a:moveTo>
                    <a:pt x="52" y="97"/>
                  </a:moveTo>
                  <a:cubicBezTo>
                    <a:pt x="48" y="97"/>
                    <a:pt x="44" y="94"/>
                    <a:pt x="44" y="90"/>
                  </a:cubicBezTo>
                  <a:cubicBezTo>
                    <a:pt x="44" y="86"/>
                    <a:pt x="48" y="82"/>
                    <a:pt x="52" y="82"/>
                  </a:cubicBezTo>
                  <a:cubicBezTo>
                    <a:pt x="56" y="82"/>
                    <a:pt x="59" y="86"/>
                    <a:pt x="59" y="90"/>
                  </a:cubicBezTo>
                  <a:cubicBezTo>
                    <a:pt x="59" y="94"/>
                    <a:pt x="56" y="97"/>
                    <a:pt x="52" y="97"/>
                  </a:cubicBezTo>
                  <a:close/>
                  <a:moveTo>
                    <a:pt x="52" y="74"/>
                  </a:moveTo>
                  <a:cubicBezTo>
                    <a:pt x="48" y="74"/>
                    <a:pt x="44" y="71"/>
                    <a:pt x="44" y="67"/>
                  </a:cubicBezTo>
                  <a:cubicBezTo>
                    <a:pt x="44" y="63"/>
                    <a:pt x="48" y="60"/>
                    <a:pt x="52" y="60"/>
                  </a:cubicBezTo>
                  <a:cubicBezTo>
                    <a:pt x="56" y="60"/>
                    <a:pt x="59" y="63"/>
                    <a:pt x="59" y="67"/>
                  </a:cubicBezTo>
                  <a:cubicBezTo>
                    <a:pt x="59" y="71"/>
                    <a:pt x="56" y="74"/>
                    <a:pt x="52" y="74"/>
                  </a:cubicBezTo>
                  <a:close/>
                  <a:moveTo>
                    <a:pt x="52" y="53"/>
                  </a:moveTo>
                  <a:cubicBezTo>
                    <a:pt x="48" y="53"/>
                    <a:pt x="44" y="49"/>
                    <a:pt x="44" y="45"/>
                  </a:cubicBezTo>
                  <a:cubicBezTo>
                    <a:pt x="44" y="41"/>
                    <a:pt x="48" y="38"/>
                    <a:pt x="52" y="38"/>
                  </a:cubicBezTo>
                  <a:cubicBezTo>
                    <a:pt x="56" y="38"/>
                    <a:pt x="59" y="41"/>
                    <a:pt x="59" y="45"/>
                  </a:cubicBezTo>
                  <a:cubicBezTo>
                    <a:pt x="59" y="49"/>
                    <a:pt x="56" y="53"/>
                    <a:pt x="52" y="53"/>
                  </a:cubicBezTo>
                  <a:close/>
                  <a:moveTo>
                    <a:pt x="255" y="119"/>
                  </a:moveTo>
                  <a:cubicBezTo>
                    <a:pt x="251" y="119"/>
                    <a:pt x="248" y="116"/>
                    <a:pt x="248" y="112"/>
                  </a:cubicBezTo>
                  <a:cubicBezTo>
                    <a:pt x="248" y="108"/>
                    <a:pt x="251" y="104"/>
                    <a:pt x="255" y="104"/>
                  </a:cubicBezTo>
                  <a:cubicBezTo>
                    <a:pt x="259" y="104"/>
                    <a:pt x="262" y="108"/>
                    <a:pt x="262" y="112"/>
                  </a:cubicBezTo>
                  <a:cubicBezTo>
                    <a:pt x="262" y="116"/>
                    <a:pt x="259" y="119"/>
                    <a:pt x="255" y="119"/>
                  </a:cubicBezTo>
                  <a:close/>
                  <a:moveTo>
                    <a:pt x="276" y="119"/>
                  </a:moveTo>
                  <a:cubicBezTo>
                    <a:pt x="272" y="119"/>
                    <a:pt x="269" y="116"/>
                    <a:pt x="269" y="112"/>
                  </a:cubicBezTo>
                  <a:cubicBezTo>
                    <a:pt x="269" y="108"/>
                    <a:pt x="272" y="104"/>
                    <a:pt x="276" y="104"/>
                  </a:cubicBezTo>
                  <a:cubicBezTo>
                    <a:pt x="280" y="104"/>
                    <a:pt x="283" y="108"/>
                    <a:pt x="283" y="112"/>
                  </a:cubicBezTo>
                  <a:cubicBezTo>
                    <a:pt x="283" y="116"/>
                    <a:pt x="280" y="119"/>
                    <a:pt x="276" y="119"/>
                  </a:cubicBezTo>
                  <a:close/>
                  <a:moveTo>
                    <a:pt x="284" y="87"/>
                  </a:moveTo>
                  <a:cubicBezTo>
                    <a:pt x="284" y="92"/>
                    <a:pt x="279" y="97"/>
                    <a:pt x="273" y="97"/>
                  </a:cubicBezTo>
                  <a:cubicBezTo>
                    <a:pt x="116" y="97"/>
                    <a:pt x="116" y="97"/>
                    <a:pt x="116" y="97"/>
                  </a:cubicBezTo>
                  <a:cubicBezTo>
                    <a:pt x="110" y="97"/>
                    <a:pt x="106" y="92"/>
                    <a:pt x="106" y="87"/>
                  </a:cubicBezTo>
                  <a:cubicBezTo>
                    <a:pt x="106" y="82"/>
                    <a:pt x="106" y="82"/>
                    <a:pt x="106" y="82"/>
                  </a:cubicBezTo>
                  <a:cubicBezTo>
                    <a:pt x="284" y="82"/>
                    <a:pt x="284" y="82"/>
                    <a:pt x="284" y="82"/>
                  </a:cubicBezTo>
                  <a:lnTo>
                    <a:pt x="284" y="87"/>
                  </a:lnTo>
                  <a:close/>
                  <a:moveTo>
                    <a:pt x="284" y="76"/>
                  </a:moveTo>
                  <a:cubicBezTo>
                    <a:pt x="106" y="76"/>
                    <a:pt x="106" y="76"/>
                    <a:pt x="106" y="76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284" y="61"/>
                    <a:pt x="284" y="61"/>
                    <a:pt x="284" y="61"/>
                  </a:cubicBezTo>
                  <a:lnTo>
                    <a:pt x="284" y="76"/>
                  </a:lnTo>
                  <a:close/>
                  <a:moveTo>
                    <a:pt x="284" y="55"/>
                  </a:moveTo>
                  <a:cubicBezTo>
                    <a:pt x="106" y="55"/>
                    <a:pt x="106" y="55"/>
                    <a:pt x="106" y="55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284" y="40"/>
                    <a:pt x="284" y="40"/>
                    <a:pt x="284" y="40"/>
                  </a:cubicBezTo>
                  <a:lnTo>
                    <a:pt x="284" y="55"/>
                  </a:lnTo>
                  <a:close/>
                  <a:moveTo>
                    <a:pt x="284" y="34"/>
                  </a:moveTo>
                  <a:cubicBezTo>
                    <a:pt x="106" y="34"/>
                    <a:pt x="106" y="34"/>
                    <a:pt x="106" y="34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06" y="25"/>
                    <a:pt x="110" y="20"/>
                    <a:pt x="116" y="20"/>
                  </a:cubicBezTo>
                  <a:cubicBezTo>
                    <a:pt x="273" y="20"/>
                    <a:pt x="273" y="20"/>
                    <a:pt x="273" y="20"/>
                  </a:cubicBezTo>
                  <a:cubicBezTo>
                    <a:pt x="279" y="20"/>
                    <a:pt x="284" y="25"/>
                    <a:pt x="284" y="30"/>
                  </a:cubicBezTo>
                  <a:lnTo>
                    <a:pt x="284" y="34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40395">
                <a:defRPr/>
              </a:pPr>
              <a:endParaRPr lang="en-US" sz="2400" ker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8" name="Freeform 5"/>
            <p:cNvSpPr>
              <a:spLocks noEditPoints="1"/>
            </p:cNvSpPr>
            <p:nvPr/>
          </p:nvSpPr>
          <p:spPr bwMode="auto">
            <a:xfrm>
              <a:off x="2658144" y="5275158"/>
              <a:ext cx="942756" cy="410910"/>
            </a:xfrm>
            <a:custGeom>
              <a:avLst/>
              <a:gdLst>
                <a:gd name="T0" fmla="*/ 18 w 304"/>
                <a:gd name="T1" fmla="*/ 0 h 131"/>
                <a:gd name="T2" fmla="*/ 0 w 304"/>
                <a:gd name="T3" fmla="*/ 114 h 131"/>
                <a:gd name="T4" fmla="*/ 286 w 304"/>
                <a:gd name="T5" fmla="*/ 131 h 131"/>
                <a:gd name="T6" fmla="*/ 304 w 304"/>
                <a:gd name="T7" fmla="*/ 18 h 131"/>
                <a:gd name="T8" fmla="*/ 30 w 304"/>
                <a:gd name="T9" fmla="*/ 97 h 131"/>
                <a:gd name="T10" fmla="*/ 30 w 304"/>
                <a:gd name="T11" fmla="*/ 82 h 131"/>
                <a:gd name="T12" fmla="*/ 30 w 304"/>
                <a:gd name="T13" fmla="*/ 97 h 131"/>
                <a:gd name="T14" fmla="*/ 22 w 304"/>
                <a:gd name="T15" fmla="*/ 67 h 131"/>
                <a:gd name="T16" fmla="*/ 37 w 304"/>
                <a:gd name="T17" fmla="*/ 67 h 131"/>
                <a:gd name="T18" fmla="*/ 30 w 304"/>
                <a:gd name="T19" fmla="*/ 53 h 131"/>
                <a:gd name="T20" fmla="*/ 30 w 304"/>
                <a:gd name="T21" fmla="*/ 38 h 131"/>
                <a:gd name="T22" fmla="*/ 30 w 304"/>
                <a:gd name="T23" fmla="*/ 53 h 131"/>
                <a:gd name="T24" fmla="*/ 44 w 304"/>
                <a:gd name="T25" fmla="*/ 90 h 131"/>
                <a:gd name="T26" fmla="*/ 59 w 304"/>
                <a:gd name="T27" fmla="*/ 90 h 131"/>
                <a:gd name="T28" fmla="*/ 52 w 304"/>
                <a:gd name="T29" fmla="*/ 74 h 131"/>
                <a:gd name="T30" fmla="*/ 52 w 304"/>
                <a:gd name="T31" fmla="*/ 60 h 131"/>
                <a:gd name="T32" fmla="*/ 52 w 304"/>
                <a:gd name="T33" fmla="*/ 74 h 131"/>
                <a:gd name="T34" fmla="*/ 44 w 304"/>
                <a:gd name="T35" fmla="*/ 45 h 131"/>
                <a:gd name="T36" fmla="*/ 59 w 304"/>
                <a:gd name="T37" fmla="*/ 45 h 131"/>
                <a:gd name="T38" fmla="*/ 255 w 304"/>
                <a:gd name="T39" fmla="*/ 119 h 131"/>
                <a:gd name="T40" fmla="*/ 255 w 304"/>
                <a:gd name="T41" fmla="*/ 104 h 131"/>
                <a:gd name="T42" fmla="*/ 255 w 304"/>
                <a:gd name="T43" fmla="*/ 119 h 131"/>
                <a:gd name="T44" fmla="*/ 269 w 304"/>
                <a:gd name="T45" fmla="*/ 112 h 131"/>
                <a:gd name="T46" fmla="*/ 283 w 304"/>
                <a:gd name="T47" fmla="*/ 112 h 131"/>
                <a:gd name="T48" fmla="*/ 284 w 304"/>
                <a:gd name="T49" fmla="*/ 87 h 131"/>
                <a:gd name="T50" fmla="*/ 116 w 304"/>
                <a:gd name="T51" fmla="*/ 97 h 131"/>
                <a:gd name="T52" fmla="*/ 106 w 304"/>
                <a:gd name="T53" fmla="*/ 82 h 131"/>
                <a:gd name="T54" fmla="*/ 284 w 304"/>
                <a:gd name="T55" fmla="*/ 87 h 131"/>
                <a:gd name="T56" fmla="*/ 106 w 304"/>
                <a:gd name="T57" fmla="*/ 76 h 131"/>
                <a:gd name="T58" fmla="*/ 284 w 304"/>
                <a:gd name="T59" fmla="*/ 61 h 131"/>
                <a:gd name="T60" fmla="*/ 284 w 304"/>
                <a:gd name="T61" fmla="*/ 55 h 131"/>
                <a:gd name="T62" fmla="*/ 106 w 304"/>
                <a:gd name="T63" fmla="*/ 40 h 131"/>
                <a:gd name="T64" fmla="*/ 284 w 304"/>
                <a:gd name="T65" fmla="*/ 55 h 131"/>
                <a:gd name="T66" fmla="*/ 106 w 304"/>
                <a:gd name="T67" fmla="*/ 34 h 131"/>
                <a:gd name="T68" fmla="*/ 116 w 304"/>
                <a:gd name="T69" fmla="*/ 20 h 131"/>
                <a:gd name="T70" fmla="*/ 284 w 304"/>
                <a:gd name="T71" fmla="*/ 3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4" h="131">
                  <a:moveTo>
                    <a:pt x="286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24"/>
                    <a:pt x="8" y="131"/>
                    <a:pt x="18" y="131"/>
                  </a:cubicBezTo>
                  <a:cubicBezTo>
                    <a:pt x="286" y="131"/>
                    <a:pt x="286" y="131"/>
                    <a:pt x="286" y="131"/>
                  </a:cubicBezTo>
                  <a:cubicBezTo>
                    <a:pt x="296" y="131"/>
                    <a:pt x="304" y="124"/>
                    <a:pt x="304" y="114"/>
                  </a:cubicBezTo>
                  <a:cubicBezTo>
                    <a:pt x="304" y="18"/>
                    <a:pt x="304" y="18"/>
                    <a:pt x="304" y="18"/>
                  </a:cubicBezTo>
                  <a:cubicBezTo>
                    <a:pt x="304" y="8"/>
                    <a:pt x="296" y="0"/>
                    <a:pt x="286" y="0"/>
                  </a:cubicBezTo>
                  <a:close/>
                  <a:moveTo>
                    <a:pt x="30" y="97"/>
                  </a:moveTo>
                  <a:cubicBezTo>
                    <a:pt x="26" y="97"/>
                    <a:pt x="22" y="94"/>
                    <a:pt x="22" y="90"/>
                  </a:cubicBezTo>
                  <a:cubicBezTo>
                    <a:pt x="22" y="86"/>
                    <a:pt x="26" y="82"/>
                    <a:pt x="30" y="82"/>
                  </a:cubicBezTo>
                  <a:cubicBezTo>
                    <a:pt x="34" y="82"/>
                    <a:pt x="37" y="86"/>
                    <a:pt x="37" y="90"/>
                  </a:cubicBezTo>
                  <a:cubicBezTo>
                    <a:pt x="37" y="94"/>
                    <a:pt x="34" y="97"/>
                    <a:pt x="30" y="97"/>
                  </a:cubicBezTo>
                  <a:close/>
                  <a:moveTo>
                    <a:pt x="30" y="74"/>
                  </a:moveTo>
                  <a:cubicBezTo>
                    <a:pt x="26" y="74"/>
                    <a:pt x="22" y="71"/>
                    <a:pt x="22" y="67"/>
                  </a:cubicBezTo>
                  <a:cubicBezTo>
                    <a:pt x="22" y="63"/>
                    <a:pt x="26" y="60"/>
                    <a:pt x="30" y="60"/>
                  </a:cubicBezTo>
                  <a:cubicBezTo>
                    <a:pt x="34" y="60"/>
                    <a:pt x="37" y="63"/>
                    <a:pt x="37" y="67"/>
                  </a:cubicBezTo>
                  <a:cubicBezTo>
                    <a:pt x="37" y="71"/>
                    <a:pt x="34" y="74"/>
                    <a:pt x="30" y="74"/>
                  </a:cubicBezTo>
                  <a:close/>
                  <a:moveTo>
                    <a:pt x="30" y="53"/>
                  </a:moveTo>
                  <a:cubicBezTo>
                    <a:pt x="26" y="53"/>
                    <a:pt x="22" y="49"/>
                    <a:pt x="22" y="45"/>
                  </a:cubicBezTo>
                  <a:cubicBezTo>
                    <a:pt x="22" y="41"/>
                    <a:pt x="26" y="38"/>
                    <a:pt x="30" y="38"/>
                  </a:cubicBezTo>
                  <a:cubicBezTo>
                    <a:pt x="34" y="38"/>
                    <a:pt x="37" y="41"/>
                    <a:pt x="37" y="45"/>
                  </a:cubicBezTo>
                  <a:cubicBezTo>
                    <a:pt x="37" y="49"/>
                    <a:pt x="34" y="53"/>
                    <a:pt x="30" y="53"/>
                  </a:cubicBezTo>
                  <a:close/>
                  <a:moveTo>
                    <a:pt x="52" y="97"/>
                  </a:moveTo>
                  <a:cubicBezTo>
                    <a:pt x="48" y="97"/>
                    <a:pt x="44" y="94"/>
                    <a:pt x="44" y="90"/>
                  </a:cubicBezTo>
                  <a:cubicBezTo>
                    <a:pt x="44" y="86"/>
                    <a:pt x="48" y="82"/>
                    <a:pt x="52" y="82"/>
                  </a:cubicBezTo>
                  <a:cubicBezTo>
                    <a:pt x="56" y="82"/>
                    <a:pt x="59" y="86"/>
                    <a:pt x="59" y="90"/>
                  </a:cubicBezTo>
                  <a:cubicBezTo>
                    <a:pt x="59" y="94"/>
                    <a:pt x="56" y="97"/>
                    <a:pt x="52" y="97"/>
                  </a:cubicBezTo>
                  <a:close/>
                  <a:moveTo>
                    <a:pt x="52" y="74"/>
                  </a:moveTo>
                  <a:cubicBezTo>
                    <a:pt x="48" y="74"/>
                    <a:pt x="44" y="71"/>
                    <a:pt x="44" y="67"/>
                  </a:cubicBezTo>
                  <a:cubicBezTo>
                    <a:pt x="44" y="63"/>
                    <a:pt x="48" y="60"/>
                    <a:pt x="52" y="60"/>
                  </a:cubicBezTo>
                  <a:cubicBezTo>
                    <a:pt x="56" y="60"/>
                    <a:pt x="59" y="63"/>
                    <a:pt x="59" y="67"/>
                  </a:cubicBezTo>
                  <a:cubicBezTo>
                    <a:pt x="59" y="71"/>
                    <a:pt x="56" y="74"/>
                    <a:pt x="52" y="74"/>
                  </a:cubicBezTo>
                  <a:close/>
                  <a:moveTo>
                    <a:pt x="52" y="53"/>
                  </a:moveTo>
                  <a:cubicBezTo>
                    <a:pt x="48" y="53"/>
                    <a:pt x="44" y="49"/>
                    <a:pt x="44" y="45"/>
                  </a:cubicBezTo>
                  <a:cubicBezTo>
                    <a:pt x="44" y="41"/>
                    <a:pt x="48" y="38"/>
                    <a:pt x="52" y="38"/>
                  </a:cubicBezTo>
                  <a:cubicBezTo>
                    <a:pt x="56" y="38"/>
                    <a:pt x="59" y="41"/>
                    <a:pt x="59" y="45"/>
                  </a:cubicBezTo>
                  <a:cubicBezTo>
                    <a:pt x="59" y="49"/>
                    <a:pt x="56" y="53"/>
                    <a:pt x="52" y="53"/>
                  </a:cubicBezTo>
                  <a:close/>
                  <a:moveTo>
                    <a:pt x="255" y="119"/>
                  </a:moveTo>
                  <a:cubicBezTo>
                    <a:pt x="251" y="119"/>
                    <a:pt x="248" y="116"/>
                    <a:pt x="248" y="112"/>
                  </a:cubicBezTo>
                  <a:cubicBezTo>
                    <a:pt x="248" y="108"/>
                    <a:pt x="251" y="104"/>
                    <a:pt x="255" y="104"/>
                  </a:cubicBezTo>
                  <a:cubicBezTo>
                    <a:pt x="259" y="104"/>
                    <a:pt x="262" y="108"/>
                    <a:pt x="262" y="112"/>
                  </a:cubicBezTo>
                  <a:cubicBezTo>
                    <a:pt x="262" y="116"/>
                    <a:pt x="259" y="119"/>
                    <a:pt x="255" y="119"/>
                  </a:cubicBezTo>
                  <a:close/>
                  <a:moveTo>
                    <a:pt x="276" y="119"/>
                  </a:moveTo>
                  <a:cubicBezTo>
                    <a:pt x="272" y="119"/>
                    <a:pt x="269" y="116"/>
                    <a:pt x="269" y="112"/>
                  </a:cubicBezTo>
                  <a:cubicBezTo>
                    <a:pt x="269" y="108"/>
                    <a:pt x="272" y="104"/>
                    <a:pt x="276" y="104"/>
                  </a:cubicBezTo>
                  <a:cubicBezTo>
                    <a:pt x="280" y="104"/>
                    <a:pt x="283" y="108"/>
                    <a:pt x="283" y="112"/>
                  </a:cubicBezTo>
                  <a:cubicBezTo>
                    <a:pt x="283" y="116"/>
                    <a:pt x="280" y="119"/>
                    <a:pt x="276" y="119"/>
                  </a:cubicBezTo>
                  <a:close/>
                  <a:moveTo>
                    <a:pt x="284" y="87"/>
                  </a:moveTo>
                  <a:cubicBezTo>
                    <a:pt x="284" y="92"/>
                    <a:pt x="279" y="97"/>
                    <a:pt x="273" y="97"/>
                  </a:cubicBezTo>
                  <a:cubicBezTo>
                    <a:pt x="116" y="97"/>
                    <a:pt x="116" y="97"/>
                    <a:pt x="116" y="97"/>
                  </a:cubicBezTo>
                  <a:cubicBezTo>
                    <a:pt x="110" y="97"/>
                    <a:pt x="106" y="92"/>
                    <a:pt x="106" y="87"/>
                  </a:cubicBezTo>
                  <a:cubicBezTo>
                    <a:pt x="106" y="82"/>
                    <a:pt x="106" y="82"/>
                    <a:pt x="106" y="82"/>
                  </a:cubicBezTo>
                  <a:cubicBezTo>
                    <a:pt x="284" y="82"/>
                    <a:pt x="284" y="82"/>
                    <a:pt x="284" y="82"/>
                  </a:cubicBezTo>
                  <a:lnTo>
                    <a:pt x="284" y="87"/>
                  </a:lnTo>
                  <a:close/>
                  <a:moveTo>
                    <a:pt x="284" y="76"/>
                  </a:moveTo>
                  <a:cubicBezTo>
                    <a:pt x="106" y="76"/>
                    <a:pt x="106" y="76"/>
                    <a:pt x="106" y="76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284" y="61"/>
                    <a:pt x="284" y="61"/>
                    <a:pt x="284" y="61"/>
                  </a:cubicBezTo>
                  <a:lnTo>
                    <a:pt x="284" y="76"/>
                  </a:lnTo>
                  <a:close/>
                  <a:moveTo>
                    <a:pt x="284" y="55"/>
                  </a:moveTo>
                  <a:cubicBezTo>
                    <a:pt x="106" y="55"/>
                    <a:pt x="106" y="55"/>
                    <a:pt x="106" y="55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284" y="40"/>
                    <a:pt x="284" y="40"/>
                    <a:pt x="284" y="40"/>
                  </a:cubicBezTo>
                  <a:lnTo>
                    <a:pt x="284" y="55"/>
                  </a:lnTo>
                  <a:close/>
                  <a:moveTo>
                    <a:pt x="284" y="34"/>
                  </a:moveTo>
                  <a:cubicBezTo>
                    <a:pt x="106" y="34"/>
                    <a:pt x="106" y="34"/>
                    <a:pt x="106" y="34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06" y="25"/>
                    <a:pt x="110" y="20"/>
                    <a:pt x="116" y="20"/>
                  </a:cubicBezTo>
                  <a:cubicBezTo>
                    <a:pt x="273" y="20"/>
                    <a:pt x="273" y="20"/>
                    <a:pt x="273" y="20"/>
                  </a:cubicBezTo>
                  <a:cubicBezTo>
                    <a:pt x="279" y="20"/>
                    <a:pt x="284" y="25"/>
                    <a:pt x="284" y="30"/>
                  </a:cubicBezTo>
                  <a:lnTo>
                    <a:pt x="284" y="34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40395">
                <a:defRPr/>
              </a:pPr>
              <a:endParaRPr lang="en-US" sz="2400" ker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61" name="Freeform 48"/>
            <p:cNvSpPr>
              <a:spLocks noEditPoints="1"/>
            </p:cNvSpPr>
            <p:nvPr/>
          </p:nvSpPr>
          <p:spPr bwMode="auto">
            <a:xfrm>
              <a:off x="3745964" y="5275158"/>
              <a:ext cx="942756" cy="410910"/>
            </a:xfrm>
            <a:custGeom>
              <a:avLst/>
              <a:gdLst>
                <a:gd name="T0" fmla="*/ 18 w 304"/>
                <a:gd name="T1" fmla="*/ 0 h 131"/>
                <a:gd name="T2" fmla="*/ 0 w 304"/>
                <a:gd name="T3" fmla="*/ 114 h 131"/>
                <a:gd name="T4" fmla="*/ 286 w 304"/>
                <a:gd name="T5" fmla="*/ 131 h 131"/>
                <a:gd name="T6" fmla="*/ 304 w 304"/>
                <a:gd name="T7" fmla="*/ 18 h 131"/>
                <a:gd name="T8" fmla="*/ 30 w 304"/>
                <a:gd name="T9" fmla="*/ 97 h 131"/>
                <a:gd name="T10" fmla="*/ 30 w 304"/>
                <a:gd name="T11" fmla="*/ 82 h 131"/>
                <a:gd name="T12" fmla="*/ 30 w 304"/>
                <a:gd name="T13" fmla="*/ 97 h 131"/>
                <a:gd name="T14" fmla="*/ 22 w 304"/>
                <a:gd name="T15" fmla="*/ 67 h 131"/>
                <a:gd name="T16" fmla="*/ 37 w 304"/>
                <a:gd name="T17" fmla="*/ 67 h 131"/>
                <a:gd name="T18" fmla="*/ 30 w 304"/>
                <a:gd name="T19" fmla="*/ 53 h 131"/>
                <a:gd name="T20" fmla="*/ 30 w 304"/>
                <a:gd name="T21" fmla="*/ 38 h 131"/>
                <a:gd name="T22" fmla="*/ 30 w 304"/>
                <a:gd name="T23" fmla="*/ 53 h 131"/>
                <a:gd name="T24" fmla="*/ 44 w 304"/>
                <a:gd name="T25" fmla="*/ 90 h 131"/>
                <a:gd name="T26" fmla="*/ 59 w 304"/>
                <a:gd name="T27" fmla="*/ 90 h 131"/>
                <a:gd name="T28" fmla="*/ 52 w 304"/>
                <a:gd name="T29" fmla="*/ 74 h 131"/>
                <a:gd name="T30" fmla="*/ 52 w 304"/>
                <a:gd name="T31" fmla="*/ 60 h 131"/>
                <a:gd name="T32" fmla="*/ 52 w 304"/>
                <a:gd name="T33" fmla="*/ 74 h 131"/>
                <a:gd name="T34" fmla="*/ 44 w 304"/>
                <a:gd name="T35" fmla="*/ 45 h 131"/>
                <a:gd name="T36" fmla="*/ 59 w 304"/>
                <a:gd name="T37" fmla="*/ 45 h 131"/>
                <a:gd name="T38" fmla="*/ 255 w 304"/>
                <a:gd name="T39" fmla="*/ 119 h 131"/>
                <a:gd name="T40" fmla="*/ 255 w 304"/>
                <a:gd name="T41" fmla="*/ 104 h 131"/>
                <a:gd name="T42" fmla="*/ 255 w 304"/>
                <a:gd name="T43" fmla="*/ 119 h 131"/>
                <a:gd name="T44" fmla="*/ 269 w 304"/>
                <a:gd name="T45" fmla="*/ 112 h 131"/>
                <a:gd name="T46" fmla="*/ 283 w 304"/>
                <a:gd name="T47" fmla="*/ 112 h 131"/>
                <a:gd name="T48" fmla="*/ 284 w 304"/>
                <a:gd name="T49" fmla="*/ 87 h 131"/>
                <a:gd name="T50" fmla="*/ 116 w 304"/>
                <a:gd name="T51" fmla="*/ 97 h 131"/>
                <a:gd name="T52" fmla="*/ 106 w 304"/>
                <a:gd name="T53" fmla="*/ 82 h 131"/>
                <a:gd name="T54" fmla="*/ 284 w 304"/>
                <a:gd name="T55" fmla="*/ 87 h 131"/>
                <a:gd name="T56" fmla="*/ 106 w 304"/>
                <a:gd name="T57" fmla="*/ 76 h 131"/>
                <a:gd name="T58" fmla="*/ 284 w 304"/>
                <a:gd name="T59" fmla="*/ 61 h 131"/>
                <a:gd name="T60" fmla="*/ 284 w 304"/>
                <a:gd name="T61" fmla="*/ 55 h 131"/>
                <a:gd name="T62" fmla="*/ 106 w 304"/>
                <a:gd name="T63" fmla="*/ 40 h 131"/>
                <a:gd name="T64" fmla="*/ 284 w 304"/>
                <a:gd name="T65" fmla="*/ 55 h 131"/>
                <a:gd name="T66" fmla="*/ 106 w 304"/>
                <a:gd name="T67" fmla="*/ 34 h 131"/>
                <a:gd name="T68" fmla="*/ 116 w 304"/>
                <a:gd name="T69" fmla="*/ 20 h 131"/>
                <a:gd name="T70" fmla="*/ 284 w 304"/>
                <a:gd name="T71" fmla="*/ 3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4" h="131">
                  <a:moveTo>
                    <a:pt x="286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24"/>
                    <a:pt x="8" y="131"/>
                    <a:pt x="18" y="131"/>
                  </a:cubicBezTo>
                  <a:cubicBezTo>
                    <a:pt x="286" y="131"/>
                    <a:pt x="286" y="131"/>
                    <a:pt x="286" y="131"/>
                  </a:cubicBezTo>
                  <a:cubicBezTo>
                    <a:pt x="296" y="131"/>
                    <a:pt x="304" y="124"/>
                    <a:pt x="304" y="114"/>
                  </a:cubicBezTo>
                  <a:cubicBezTo>
                    <a:pt x="304" y="18"/>
                    <a:pt x="304" y="18"/>
                    <a:pt x="304" y="18"/>
                  </a:cubicBezTo>
                  <a:cubicBezTo>
                    <a:pt x="304" y="8"/>
                    <a:pt x="296" y="0"/>
                    <a:pt x="286" y="0"/>
                  </a:cubicBezTo>
                  <a:close/>
                  <a:moveTo>
                    <a:pt x="30" y="97"/>
                  </a:moveTo>
                  <a:cubicBezTo>
                    <a:pt x="26" y="97"/>
                    <a:pt x="22" y="94"/>
                    <a:pt x="22" y="90"/>
                  </a:cubicBezTo>
                  <a:cubicBezTo>
                    <a:pt x="22" y="86"/>
                    <a:pt x="26" y="82"/>
                    <a:pt x="30" y="82"/>
                  </a:cubicBezTo>
                  <a:cubicBezTo>
                    <a:pt x="34" y="82"/>
                    <a:pt x="37" y="86"/>
                    <a:pt x="37" y="90"/>
                  </a:cubicBezTo>
                  <a:cubicBezTo>
                    <a:pt x="37" y="94"/>
                    <a:pt x="34" y="97"/>
                    <a:pt x="30" y="97"/>
                  </a:cubicBezTo>
                  <a:close/>
                  <a:moveTo>
                    <a:pt x="30" y="74"/>
                  </a:moveTo>
                  <a:cubicBezTo>
                    <a:pt x="26" y="74"/>
                    <a:pt x="22" y="71"/>
                    <a:pt x="22" y="67"/>
                  </a:cubicBezTo>
                  <a:cubicBezTo>
                    <a:pt x="22" y="63"/>
                    <a:pt x="26" y="60"/>
                    <a:pt x="30" y="60"/>
                  </a:cubicBezTo>
                  <a:cubicBezTo>
                    <a:pt x="34" y="60"/>
                    <a:pt x="37" y="63"/>
                    <a:pt x="37" y="67"/>
                  </a:cubicBezTo>
                  <a:cubicBezTo>
                    <a:pt x="37" y="71"/>
                    <a:pt x="34" y="74"/>
                    <a:pt x="30" y="74"/>
                  </a:cubicBezTo>
                  <a:close/>
                  <a:moveTo>
                    <a:pt x="30" y="53"/>
                  </a:moveTo>
                  <a:cubicBezTo>
                    <a:pt x="26" y="53"/>
                    <a:pt x="22" y="49"/>
                    <a:pt x="22" y="45"/>
                  </a:cubicBezTo>
                  <a:cubicBezTo>
                    <a:pt x="22" y="41"/>
                    <a:pt x="26" y="38"/>
                    <a:pt x="30" y="38"/>
                  </a:cubicBezTo>
                  <a:cubicBezTo>
                    <a:pt x="34" y="38"/>
                    <a:pt x="37" y="41"/>
                    <a:pt x="37" y="45"/>
                  </a:cubicBezTo>
                  <a:cubicBezTo>
                    <a:pt x="37" y="49"/>
                    <a:pt x="34" y="53"/>
                    <a:pt x="30" y="53"/>
                  </a:cubicBezTo>
                  <a:close/>
                  <a:moveTo>
                    <a:pt x="52" y="97"/>
                  </a:moveTo>
                  <a:cubicBezTo>
                    <a:pt x="48" y="97"/>
                    <a:pt x="44" y="94"/>
                    <a:pt x="44" y="90"/>
                  </a:cubicBezTo>
                  <a:cubicBezTo>
                    <a:pt x="44" y="86"/>
                    <a:pt x="48" y="82"/>
                    <a:pt x="52" y="82"/>
                  </a:cubicBezTo>
                  <a:cubicBezTo>
                    <a:pt x="56" y="82"/>
                    <a:pt x="59" y="86"/>
                    <a:pt x="59" y="90"/>
                  </a:cubicBezTo>
                  <a:cubicBezTo>
                    <a:pt x="59" y="94"/>
                    <a:pt x="56" y="97"/>
                    <a:pt x="52" y="97"/>
                  </a:cubicBezTo>
                  <a:close/>
                  <a:moveTo>
                    <a:pt x="52" y="74"/>
                  </a:moveTo>
                  <a:cubicBezTo>
                    <a:pt x="48" y="74"/>
                    <a:pt x="44" y="71"/>
                    <a:pt x="44" y="67"/>
                  </a:cubicBezTo>
                  <a:cubicBezTo>
                    <a:pt x="44" y="63"/>
                    <a:pt x="48" y="60"/>
                    <a:pt x="52" y="60"/>
                  </a:cubicBezTo>
                  <a:cubicBezTo>
                    <a:pt x="56" y="60"/>
                    <a:pt x="59" y="63"/>
                    <a:pt x="59" y="67"/>
                  </a:cubicBezTo>
                  <a:cubicBezTo>
                    <a:pt x="59" y="71"/>
                    <a:pt x="56" y="74"/>
                    <a:pt x="52" y="74"/>
                  </a:cubicBezTo>
                  <a:close/>
                  <a:moveTo>
                    <a:pt x="52" y="53"/>
                  </a:moveTo>
                  <a:cubicBezTo>
                    <a:pt x="48" y="53"/>
                    <a:pt x="44" y="49"/>
                    <a:pt x="44" y="45"/>
                  </a:cubicBezTo>
                  <a:cubicBezTo>
                    <a:pt x="44" y="41"/>
                    <a:pt x="48" y="38"/>
                    <a:pt x="52" y="38"/>
                  </a:cubicBezTo>
                  <a:cubicBezTo>
                    <a:pt x="56" y="38"/>
                    <a:pt x="59" y="41"/>
                    <a:pt x="59" y="45"/>
                  </a:cubicBezTo>
                  <a:cubicBezTo>
                    <a:pt x="59" y="49"/>
                    <a:pt x="56" y="53"/>
                    <a:pt x="52" y="53"/>
                  </a:cubicBezTo>
                  <a:close/>
                  <a:moveTo>
                    <a:pt x="255" y="119"/>
                  </a:moveTo>
                  <a:cubicBezTo>
                    <a:pt x="251" y="119"/>
                    <a:pt x="248" y="116"/>
                    <a:pt x="248" y="112"/>
                  </a:cubicBezTo>
                  <a:cubicBezTo>
                    <a:pt x="248" y="108"/>
                    <a:pt x="251" y="104"/>
                    <a:pt x="255" y="104"/>
                  </a:cubicBezTo>
                  <a:cubicBezTo>
                    <a:pt x="259" y="104"/>
                    <a:pt x="262" y="108"/>
                    <a:pt x="262" y="112"/>
                  </a:cubicBezTo>
                  <a:cubicBezTo>
                    <a:pt x="262" y="116"/>
                    <a:pt x="259" y="119"/>
                    <a:pt x="255" y="119"/>
                  </a:cubicBezTo>
                  <a:close/>
                  <a:moveTo>
                    <a:pt x="276" y="119"/>
                  </a:moveTo>
                  <a:cubicBezTo>
                    <a:pt x="272" y="119"/>
                    <a:pt x="269" y="116"/>
                    <a:pt x="269" y="112"/>
                  </a:cubicBezTo>
                  <a:cubicBezTo>
                    <a:pt x="269" y="108"/>
                    <a:pt x="272" y="104"/>
                    <a:pt x="276" y="104"/>
                  </a:cubicBezTo>
                  <a:cubicBezTo>
                    <a:pt x="280" y="104"/>
                    <a:pt x="283" y="108"/>
                    <a:pt x="283" y="112"/>
                  </a:cubicBezTo>
                  <a:cubicBezTo>
                    <a:pt x="283" y="116"/>
                    <a:pt x="280" y="119"/>
                    <a:pt x="276" y="119"/>
                  </a:cubicBezTo>
                  <a:close/>
                  <a:moveTo>
                    <a:pt x="284" y="87"/>
                  </a:moveTo>
                  <a:cubicBezTo>
                    <a:pt x="284" y="92"/>
                    <a:pt x="279" y="97"/>
                    <a:pt x="273" y="97"/>
                  </a:cubicBezTo>
                  <a:cubicBezTo>
                    <a:pt x="116" y="97"/>
                    <a:pt x="116" y="97"/>
                    <a:pt x="116" y="97"/>
                  </a:cubicBezTo>
                  <a:cubicBezTo>
                    <a:pt x="110" y="97"/>
                    <a:pt x="106" y="92"/>
                    <a:pt x="106" y="87"/>
                  </a:cubicBezTo>
                  <a:cubicBezTo>
                    <a:pt x="106" y="82"/>
                    <a:pt x="106" y="82"/>
                    <a:pt x="106" y="82"/>
                  </a:cubicBezTo>
                  <a:cubicBezTo>
                    <a:pt x="284" y="82"/>
                    <a:pt x="284" y="82"/>
                    <a:pt x="284" y="82"/>
                  </a:cubicBezTo>
                  <a:lnTo>
                    <a:pt x="284" y="87"/>
                  </a:lnTo>
                  <a:close/>
                  <a:moveTo>
                    <a:pt x="284" y="76"/>
                  </a:moveTo>
                  <a:cubicBezTo>
                    <a:pt x="106" y="76"/>
                    <a:pt x="106" y="76"/>
                    <a:pt x="106" y="76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284" y="61"/>
                    <a:pt x="284" y="61"/>
                    <a:pt x="284" y="61"/>
                  </a:cubicBezTo>
                  <a:lnTo>
                    <a:pt x="284" y="76"/>
                  </a:lnTo>
                  <a:close/>
                  <a:moveTo>
                    <a:pt x="284" y="55"/>
                  </a:moveTo>
                  <a:cubicBezTo>
                    <a:pt x="106" y="55"/>
                    <a:pt x="106" y="55"/>
                    <a:pt x="106" y="55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284" y="40"/>
                    <a:pt x="284" y="40"/>
                    <a:pt x="284" y="40"/>
                  </a:cubicBezTo>
                  <a:lnTo>
                    <a:pt x="284" y="55"/>
                  </a:lnTo>
                  <a:close/>
                  <a:moveTo>
                    <a:pt x="284" y="34"/>
                  </a:moveTo>
                  <a:cubicBezTo>
                    <a:pt x="106" y="34"/>
                    <a:pt x="106" y="34"/>
                    <a:pt x="106" y="34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06" y="25"/>
                    <a:pt x="110" y="20"/>
                    <a:pt x="116" y="20"/>
                  </a:cubicBezTo>
                  <a:cubicBezTo>
                    <a:pt x="273" y="20"/>
                    <a:pt x="273" y="20"/>
                    <a:pt x="273" y="20"/>
                  </a:cubicBezTo>
                  <a:cubicBezTo>
                    <a:pt x="279" y="20"/>
                    <a:pt x="284" y="25"/>
                    <a:pt x="284" y="30"/>
                  </a:cubicBezTo>
                  <a:lnTo>
                    <a:pt x="284" y="34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40395">
                <a:defRPr/>
              </a:pPr>
              <a:endParaRPr lang="en-US" sz="2400" ker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62" name="Freeform 49"/>
            <p:cNvSpPr>
              <a:spLocks noEditPoints="1"/>
            </p:cNvSpPr>
            <p:nvPr/>
          </p:nvSpPr>
          <p:spPr bwMode="auto">
            <a:xfrm>
              <a:off x="4803121" y="5275158"/>
              <a:ext cx="942756" cy="410910"/>
            </a:xfrm>
            <a:custGeom>
              <a:avLst/>
              <a:gdLst>
                <a:gd name="T0" fmla="*/ 18 w 304"/>
                <a:gd name="T1" fmla="*/ 0 h 131"/>
                <a:gd name="T2" fmla="*/ 0 w 304"/>
                <a:gd name="T3" fmla="*/ 114 h 131"/>
                <a:gd name="T4" fmla="*/ 286 w 304"/>
                <a:gd name="T5" fmla="*/ 131 h 131"/>
                <a:gd name="T6" fmla="*/ 304 w 304"/>
                <a:gd name="T7" fmla="*/ 18 h 131"/>
                <a:gd name="T8" fmla="*/ 30 w 304"/>
                <a:gd name="T9" fmla="*/ 97 h 131"/>
                <a:gd name="T10" fmla="*/ 30 w 304"/>
                <a:gd name="T11" fmla="*/ 82 h 131"/>
                <a:gd name="T12" fmla="*/ 30 w 304"/>
                <a:gd name="T13" fmla="*/ 97 h 131"/>
                <a:gd name="T14" fmla="*/ 22 w 304"/>
                <a:gd name="T15" fmla="*/ 67 h 131"/>
                <a:gd name="T16" fmla="*/ 37 w 304"/>
                <a:gd name="T17" fmla="*/ 67 h 131"/>
                <a:gd name="T18" fmla="*/ 30 w 304"/>
                <a:gd name="T19" fmla="*/ 53 h 131"/>
                <a:gd name="T20" fmla="*/ 30 w 304"/>
                <a:gd name="T21" fmla="*/ 38 h 131"/>
                <a:gd name="T22" fmla="*/ 30 w 304"/>
                <a:gd name="T23" fmla="*/ 53 h 131"/>
                <a:gd name="T24" fmla="*/ 44 w 304"/>
                <a:gd name="T25" fmla="*/ 90 h 131"/>
                <a:gd name="T26" fmla="*/ 59 w 304"/>
                <a:gd name="T27" fmla="*/ 90 h 131"/>
                <a:gd name="T28" fmla="*/ 52 w 304"/>
                <a:gd name="T29" fmla="*/ 74 h 131"/>
                <a:gd name="T30" fmla="*/ 52 w 304"/>
                <a:gd name="T31" fmla="*/ 60 h 131"/>
                <a:gd name="T32" fmla="*/ 52 w 304"/>
                <a:gd name="T33" fmla="*/ 74 h 131"/>
                <a:gd name="T34" fmla="*/ 44 w 304"/>
                <a:gd name="T35" fmla="*/ 45 h 131"/>
                <a:gd name="T36" fmla="*/ 59 w 304"/>
                <a:gd name="T37" fmla="*/ 45 h 131"/>
                <a:gd name="T38" fmla="*/ 255 w 304"/>
                <a:gd name="T39" fmla="*/ 119 h 131"/>
                <a:gd name="T40" fmla="*/ 255 w 304"/>
                <a:gd name="T41" fmla="*/ 104 h 131"/>
                <a:gd name="T42" fmla="*/ 255 w 304"/>
                <a:gd name="T43" fmla="*/ 119 h 131"/>
                <a:gd name="T44" fmla="*/ 269 w 304"/>
                <a:gd name="T45" fmla="*/ 112 h 131"/>
                <a:gd name="T46" fmla="*/ 283 w 304"/>
                <a:gd name="T47" fmla="*/ 112 h 131"/>
                <a:gd name="T48" fmla="*/ 284 w 304"/>
                <a:gd name="T49" fmla="*/ 87 h 131"/>
                <a:gd name="T50" fmla="*/ 116 w 304"/>
                <a:gd name="T51" fmla="*/ 97 h 131"/>
                <a:gd name="T52" fmla="*/ 106 w 304"/>
                <a:gd name="T53" fmla="*/ 82 h 131"/>
                <a:gd name="T54" fmla="*/ 284 w 304"/>
                <a:gd name="T55" fmla="*/ 87 h 131"/>
                <a:gd name="T56" fmla="*/ 106 w 304"/>
                <a:gd name="T57" fmla="*/ 76 h 131"/>
                <a:gd name="T58" fmla="*/ 284 w 304"/>
                <a:gd name="T59" fmla="*/ 61 h 131"/>
                <a:gd name="T60" fmla="*/ 284 w 304"/>
                <a:gd name="T61" fmla="*/ 55 h 131"/>
                <a:gd name="T62" fmla="*/ 106 w 304"/>
                <a:gd name="T63" fmla="*/ 40 h 131"/>
                <a:gd name="T64" fmla="*/ 284 w 304"/>
                <a:gd name="T65" fmla="*/ 55 h 131"/>
                <a:gd name="T66" fmla="*/ 106 w 304"/>
                <a:gd name="T67" fmla="*/ 34 h 131"/>
                <a:gd name="T68" fmla="*/ 116 w 304"/>
                <a:gd name="T69" fmla="*/ 20 h 131"/>
                <a:gd name="T70" fmla="*/ 284 w 304"/>
                <a:gd name="T71" fmla="*/ 3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4" h="131">
                  <a:moveTo>
                    <a:pt x="286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24"/>
                    <a:pt x="8" y="131"/>
                    <a:pt x="18" y="131"/>
                  </a:cubicBezTo>
                  <a:cubicBezTo>
                    <a:pt x="286" y="131"/>
                    <a:pt x="286" y="131"/>
                    <a:pt x="286" y="131"/>
                  </a:cubicBezTo>
                  <a:cubicBezTo>
                    <a:pt x="296" y="131"/>
                    <a:pt x="304" y="124"/>
                    <a:pt x="304" y="114"/>
                  </a:cubicBezTo>
                  <a:cubicBezTo>
                    <a:pt x="304" y="18"/>
                    <a:pt x="304" y="18"/>
                    <a:pt x="304" y="18"/>
                  </a:cubicBezTo>
                  <a:cubicBezTo>
                    <a:pt x="304" y="8"/>
                    <a:pt x="296" y="0"/>
                    <a:pt x="286" y="0"/>
                  </a:cubicBezTo>
                  <a:close/>
                  <a:moveTo>
                    <a:pt x="30" y="97"/>
                  </a:moveTo>
                  <a:cubicBezTo>
                    <a:pt x="26" y="97"/>
                    <a:pt x="22" y="94"/>
                    <a:pt x="22" y="90"/>
                  </a:cubicBezTo>
                  <a:cubicBezTo>
                    <a:pt x="22" y="86"/>
                    <a:pt x="26" y="82"/>
                    <a:pt x="30" y="82"/>
                  </a:cubicBezTo>
                  <a:cubicBezTo>
                    <a:pt x="34" y="82"/>
                    <a:pt x="37" y="86"/>
                    <a:pt x="37" y="90"/>
                  </a:cubicBezTo>
                  <a:cubicBezTo>
                    <a:pt x="37" y="94"/>
                    <a:pt x="34" y="97"/>
                    <a:pt x="30" y="97"/>
                  </a:cubicBezTo>
                  <a:close/>
                  <a:moveTo>
                    <a:pt x="30" y="74"/>
                  </a:moveTo>
                  <a:cubicBezTo>
                    <a:pt x="26" y="74"/>
                    <a:pt x="22" y="71"/>
                    <a:pt x="22" y="67"/>
                  </a:cubicBezTo>
                  <a:cubicBezTo>
                    <a:pt x="22" y="63"/>
                    <a:pt x="26" y="60"/>
                    <a:pt x="30" y="60"/>
                  </a:cubicBezTo>
                  <a:cubicBezTo>
                    <a:pt x="34" y="60"/>
                    <a:pt x="37" y="63"/>
                    <a:pt x="37" y="67"/>
                  </a:cubicBezTo>
                  <a:cubicBezTo>
                    <a:pt x="37" y="71"/>
                    <a:pt x="34" y="74"/>
                    <a:pt x="30" y="74"/>
                  </a:cubicBezTo>
                  <a:close/>
                  <a:moveTo>
                    <a:pt x="30" y="53"/>
                  </a:moveTo>
                  <a:cubicBezTo>
                    <a:pt x="26" y="53"/>
                    <a:pt x="22" y="49"/>
                    <a:pt x="22" y="45"/>
                  </a:cubicBezTo>
                  <a:cubicBezTo>
                    <a:pt x="22" y="41"/>
                    <a:pt x="26" y="38"/>
                    <a:pt x="30" y="38"/>
                  </a:cubicBezTo>
                  <a:cubicBezTo>
                    <a:pt x="34" y="38"/>
                    <a:pt x="37" y="41"/>
                    <a:pt x="37" y="45"/>
                  </a:cubicBezTo>
                  <a:cubicBezTo>
                    <a:pt x="37" y="49"/>
                    <a:pt x="34" y="53"/>
                    <a:pt x="30" y="53"/>
                  </a:cubicBezTo>
                  <a:close/>
                  <a:moveTo>
                    <a:pt x="52" y="97"/>
                  </a:moveTo>
                  <a:cubicBezTo>
                    <a:pt x="48" y="97"/>
                    <a:pt x="44" y="94"/>
                    <a:pt x="44" y="90"/>
                  </a:cubicBezTo>
                  <a:cubicBezTo>
                    <a:pt x="44" y="86"/>
                    <a:pt x="48" y="82"/>
                    <a:pt x="52" y="82"/>
                  </a:cubicBezTo>
                  <a:cubicBezTo>
                    <a:pt x="56" y="82"/>
                    <a:pt x="59" y="86"/>
                    <a:pt x="59" y="90"/>
                  </a:cubicBezTo>
                  <a:cubicBezTo>
                    <a:pt x="59" y="94"/>
                    <a:pt x="56" y="97"/>
                    <a:pt x="52" y="97"/>
                  </a:cubicBezTo>
                  <a:close/>
                  <a:moveTo>
                    <a:pt x="52" y="74"/>
                  </a:moveTo>
                  <a:cubicBezTo>
                    <a:pt x="48" y="74"/>
                    <a:pt x="44" y="71"/>
                    <a:pt x="44" y="67"/>
                  </a:cubicBezTo>
                  <a:cubicBezTo>
                    <a:pt x="44" y="63"/>
                    <a:pt x="48" y="60"/>
                    <a:pt x="52" y="60"/>
                  </a:cubicBezTo>
                  <a:cubicBezTo>
                    <a:pt x="56" y="60"/>
                    <a:pt x="59" y="63"/>
                    <a:pt x="59" y="67"/>
                  </a:cubicBezTo>
                  <a:cubicBezTo>
                    <a:pt x="59" y="71"/>
                    <a:pt x="56" y="74"/>
                    <a:pt x="52" y="74"/>
                  </a:cubicBezTo>
                  <a:close/>
                  <a:moveTo>
                    <a:pt x="52" y="53"/>
                  </a:moveTo>
                  <a:cubicBezTo>
                    <a:pt x="48" y="53"/>
                    <a:pt x="44" y="49"/>
                    <a:pt x="44" y="45"/>
                  </a:cubicBezTo>
                  <a:cubicBezTo>
                    <a:pt x="44" y="41"/>
                    <a:pt x="48" y="38"/>
                    <a:pt x="52" y="38"/>
                  </a:cubicBezTo>
                  <a:cubicBezTo>
                    <a:pt x="56" y="38"/>
                    <a:pt x="59" y="41"/>
                    <a:pt x="59" y="45"/>
                  </a:cubicBezTo>
                  <a:cubicBezTo>
                    <a:pt x="59" y="49"/>
                    <a:pt x="56" y="53"/>
                    <a:pt x="52" y="53"/>
                  </a:cubicBezTo>
                  <a:close/>
                  <a:moveTo>
                    <a:pt x="255" y="119"/>
                  </a:moveTo>
                  <a:cubicBezTo>
                    <a:pt x="251" y="119"/>
                    <a:pt x="248" y="116"/>
                    <a:pt x="248" y="112"/>
                  </a:cubicBezTo>
                  <a:cubicBezTo>
                    <a:pt x="248" y="108"/>
                    <a:pt x="251" y="104"/>
                    <a:pt x="255" y="104"/>
                  </a:cubicBezTo>
                  <a:cubicBezTo>
                    <a:pt x="259" y="104"/>
                    <a:pt x="262" y="108"/>
                    <a:pt x="262" y="112"/>
                  </a:cubicBezTo>
                  <a:cubicBezTo>
                    <a:pt x="262" y="116"/>
                    <a:pt x="259" y="119"/>
                    <a:pt x="255" y="119"/>
                  </a:cubicBezTo>
                  <a:close/>
                  <a:moveTo>
                    <a:pt x="276" y="119"/>
                  </a:moveTo>
                  <a:cubicBezTo>
                    <a:pt x="272" y="119"/>
                    <a:pt x="269" y="116"/>
                    <a:pt x="269" y="112"/>
                  </a:cubicBezTo>
                  <a:cubicBezTo>
                    <a:pt x="269" y="108"/>
                    <a:pt x="272" y="104"/>
                    <a:pt x="276" y="104"/>
                  </a:cubicBezTo>
                  <a:cubicBezTo>
                    <a:pt x="280" y="104"/>
                    <a:pt x="283" y="108"/>
                    <a:pt x="283" y="112"/>
                  </a:cubicBezTo>
                  <a:cubicBezTo>
                    <a:pt x="283" y="116"/>
                    <a:pt x="280" y="119"/>
                    <a:pt x="276" y="119"/>
                  </a:cubicBezTo>
                  <a:close/>
                  <a:moveTo>
                    <a:pt x="284" y="87"/>
                  </a:moveTo>
                  <a:cubicBezTo>
                    <a:pt x="284" y="92"/>
                    <a:pt x="279" y="97"/>
                    <a:pt x="273" y="97"/>
                  </a:cubicBezTo>
                  <a:cubicBezTo>
                    <a:pt x="116" y="97"/>
                    <a:pt x="116" y="97"/>
                    <a:pt x="116" y="97"/>
                  </a:cubicBezTo>
                  <a:cubicBezTo>
                    <a:pt x="110" y="97"/>
                    <a:pt x="106" y="92"/>
                    <a:pt x="106" y="87"/>
                  </a:cubicBezTo>
                  <a:cubicBezTo>
                    <a:pt x="106" y="82"/>
                    <a:pt x="106" y="82"/>
                    <a:pt x="106" y="82"/>
                  </a:cubicBezTo>
                  <a:cubicBezTo>
                    <a:pt x="284" y="82"/>
                    <a:pt x="284" y="82"/>
                    <a:pt x="284" y="82"/>
                  </a:cubicBezTo>
                  <a:lnTo>
                    <a:pt x="284" y="87"/>
                  </a:lnTo>
                  <a:close/>
                  <a:moveTo>
                    <a:pt x="284" y="76"/>
                  </a:moveTo>
                  <a:cubicBezTo>
                    <a:pt x="106" y="76"/>
                    <a:pt x="106" y="76"/>
                    <a:pt x="106" y="76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284" y="61"/>
                    <a:pt x="284" y="61"/>
                    <a:pt x="284" y="61"/>
                  </a:cubicBezTo>
                  <a:lnTo>
                    <a:pt x="284" y="76"/>
                  </a:lnTo>
                  <a:close/>
                  <a:moveTo>
                    <a:pt x="284" y="55"/>
                  </a:moveTo>
                  <a:cubicBezTo>
                    <a:pt x="106" y="55"/>
                    <a:pt x="106" y="55"/>
                    <a:pt x="106" y="55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284" y="40"/>
                    <a:pt x="284" y="40"/>
                    <a:pt x="284" y="40"/>
                  </a:cubicBezTo>
                  <a:lnTo>
                    <a:pt x="284" y="55"/>
                  </a:lnTo>
                  <a:close/>
                  <a:moveTo>
                    <a:pt x="284" y="34"/>
                  </a:moveTo>
                  <a:cubicBezTo>
                    <a:pt x="106" y="34"/>
                    <a:pt x="106" y="34"/>
                    <a:pt x="106" y="34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06" y="25"/>
                    <a:pt x="110" y="20"/>
                    <a:pt x="116" y="20"/>
                  </a:cubicBezTo>
                  <a:cubicBezTo>
                    <a:pt x="273" y="20"/>
                    <a:pt x="273" y="20"/>
                    <a:pt x="273" y="20"/>
                  </a:cubicBezTo>
                  <a:cubicBezTo>
                    <a:pt x="279" y="20"/>
                    <a:pt x="284" y="25"/>
                    <a:pt x="284" y="30"/>
                  </a:cubicBezTo>
                  <a:lnTo>
                    <a:pt x="284" y="34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40395">
                <a:defRPr/>
              </a:pPr>
              <a:endParaRPr lang="en-US" sz="2400" ker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64" name="Freeform 5"/>
            <p:cNvSpPr>
              <a:spLocks noEditPoints="1"/>
            </p:cNvSpPr>
            <p:nvPr/>
          </p:nvSpPr>
          <p:spPr bwMode="auto">
            <a:xfrm>
              <a:off x="2658144" y="5842716"/>
              <a:ext cx="942756" cy="410910"/>
            </a:xfrm>
            <a:custGeom>
              <a:avLst/>
              <a:gdLst>
                <a:gd name="T0" fmla="*/ 18 w 304"/>
                <a:gd name="T1" fmla="*/ 0 h 131"/>
                <a:gd name="T2" fmla="*/ 0 w 304"/>
                <a:gd name="T3" fmla="*/ 114 h 131"/>
                <a:gd name="T4" fmla="*/ 286 w 304"/>
                <a:gd name="T5" fmla="*/ 131 h 131"/>
                <a:gd name="T6" fmla="*/ 304 w 304"/>
                <a:gd name="T7" fmla="*/ 18 h 131"/>
                <a:gd name="T8" fmla="*/ 30 w 304"/>
                <a:gd name="T9" fmla="*/ 97 h 131"/>
                <a:gd name="T10" fmla="*/ 30 w 304"/>
                <a:gd name="T11" fmla="*/ 82 h 131"/>
                <a:gd name="T12" fmla="*/ 30 w 304"/>
                <a:gd name="T13" fmla="*/ 97 h 131"/>
                <a:gd name="T14" fmla="*/ 22 w 304"/>
                <a:gd name="T15" fmla="*/ 67 h 131"/>
                <a:gd name="T16" fmla="*/ 37 w 304"/>
                <a:gd name="T17" fmla="*/ 67 h 131"/>
                <a:gd name="T18" fmla="*/ 30 w 304"/>
                <a:gd name="T19" fmla="*/ 53 h 131"/>
                <a:gd name="T20" fmla="*/ 30 w 304"/>
                <a:gd name="T21" fmla="*/ 38 h 131"/>
                <a:gd name="T22" fmla="*/ 30 w 304"/>
                <a:gd name="T23" fmla="*/ 53 h 131"/>
                <a:gd name="T24" fmla="*/ 44 w 304"/>
                <a:gd name="T25" fmla="*/ 90 h 131"/>
                <a:gd name="T26" fmla="*/ 59 w 304"/>
                <a:gd name="T27" fmla="*/ 90 h 131"/>
                <a:gd name="T28" fmla="*/ 52 w 304"/>
                <a:gd name="T29" fmla="*/ 74 h 131"/>
                <a:gd name="T30" fmla="*/ 52 w 304"/>
                <a:gd name="T31" fmla="*/ 60 h 131"/>
                <a:gd name="T32" fmla="*/ 52 w 304"/>
                <a:gd name="T33" fmla="*/ 74 h 131"/>
                <a:gd name="T34" fmla="*/ 44 w 304"/>
                <a:gd name="T35" fmla="*/ 45 h 131"/>
                <a:gd name="T36" fmla="*/ 59 w 304"/>
                <a:gd name="T37" fmla="*/ 45 h 131"/>
                <a:gd name="T38" fmla="*/ 255 w 304"/>
                <a:gd name="T39" fmla="*/ 119 h 131"/>
                <a:gd name="T40" fmla="*/ 255 w 304"/>
                <a:gd name="T41" fmla="*/ 104 h 131"/>
                <a:gd name="T42" fmla="*/ 255 w 304"/>
                <a:gd name="T43" fmla="*/ 119 h 131"/>
                <a:gd name="T44" fmla="*/ 269 w 304"/>
                <a:gd name="T45" fmla="*/ 112 h 131"/>
                <a:gd name="T46" fmla="*/ 283 w 304"/>
                <a:gd name="T47" fmla="*/ 112 h 131"/>
                <a:gd name="T48" fmla="*/ 284 w 304"/>
                <a:gd name="T49" fmla="*/ 87 h 131"/>
                <a:gd name="T50" fmla="*/ 116 w 304"/>
                <a:gd name="T51" fmla="*/ 97 h 131"/>
                <a:gd name="T52" fmla="*/ 106 w 304"/>
                <a:gd name="T53" fmla="*/ 82 h 131"/>
                <a:gd name="T54" fmla="*/ 284 w 304"/>
                <a:gd name="T55" fmla="*/ 87 h 131"/>
                <a:gd name="T56" fmla="*/ 106 w 304"/>
                <a:gd name="T57" fmla="*/ 76 h 131"/>
                <a:gd name="T58" fmla="*/ 284 w 304"/>
                <a:gd name="T59" fmla="*/ 61 h 131"/>
                <a:gd name="T60" fmla="*/ 284 w 304"/>
                <a:gd name="T61" fmla="*/ 55 h 131"/>
                <a:gd name="T62" fmla="*/ 106 w 304"/>
                <a:gd name="T63" fmla="*/ 40 h 131"/>
                <a:gd name="T64" fmla="*/ 284 w 304"/>
                <a:gd name="T65" fmla="*/ 55 h 131"/>
                <a:gd name="T66" fmla="*/ 106 w 304"/>
                <a:gd name="T67" fmla="*/ 34 h 131"/>
                <a:gd name="T68" fmla="*/ 116 w 304"/>
                <a:gd name="T69" fmla="*/ 20 h 131"/>
                <a:gd name="T70" fmla="*/ 284 w 304"/>
                <a:gd name="T71" fmla="*/ 3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4" h="131">
                  <a:moveTo>
                    <a:pt x="286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24"/>
                    <a:pt x="8" y="131"/>
                    <a:pt x="18" y="131"/>
                  </a:cubicBezTo>
                  <a:cubicBezTo>
                    <a:pt x="286" y="131"/>
                    <a:pt x="286" y="131"/>
                    <a:pt x="286" y="131"/>
                  </a:cubicBezTo>
                  <a:cubicBezTo>
                    <a:pt x="296" y="131"/>
                    <a:pt x="304" y="124"/>
                    <a:pt x="304" y="114"/>
                  </a:cubicBezTo>
                  <a:cubicBezTo>
                    <a:pt x="304" y="18"/>
                    <a:pt x="304" y="18"/>
                    <a:pt x="304" y="18"/>
                  </a:cubicBezTo>
                  <a:cubicBezTo>
                    <a:pt x="304" y="8"/>
                    <a:pt x="296" y="0"/>
                    <a:pt x="286" y="0"/>
                  </a:cubicBezTo>
                  <a:close/>
                  <a:moveTo>
                    <a:pt x="30" y="97"/>
                  </a:moveTo>
                  <a:cubicBezTo>
                    <a:pt x="26" y="97"/>
                    <a:pt x="22" y="94"/>
                    <a:pt x="22" y="90"/>
                  </a:cubicBezTo>
                  <a:cubicBezTo>
                    <a:pt x="22" y="86"/>
                    <a:pt x="26" y="82"/>
                    <a:pt x="30" y="82"/>
                  </a:cubicBezTo>
                  <a:cubicBezTo>
                    <a:pt x="34" y="82"/>
                    <a:pt x="37" y="86"/>
                    <a:pt x="37" y="90"/>
                  </a:cubicBezTo>
                  <a:cubicBezTo>
                    <a:pt x="37" y="94"/>
                    <a:pt x="34" y="97"/>
                    <a:pt x="30" y="97"/>
                  </a:cubicBezTo>
                  <a:close/>
                  <a:moveTo>
                    <a:pt x="30" y="74"/>
                  </a:moveTo>
                  <a:cubicBezTo>
                    <a:pt x="26" y="74"/>
                    <a:pt x="22" y="71"/>
                    <a:pt x="22" y="67"/>
                  </a:cubicBezTo>
                  <a:cubicBezTo>
                    <a:pt x="22" y="63"/>
                    <a:pt x="26" y="60"/>
                    <a:pt x="30" y="60"/>
                  </a:cubicBezTo>
                  <a:cubicBezTo>
                    <a:pt x="34" y="60"/>
                    <a:pt x="37" y="63"/>
                    <a:pt x="37" y="67"/>
                  </a:cubicBezTo>
                  <a:cubicBezTo>
                    <a:pt x="37" y="71"/>
                    <a:pt x="34" y="74"/>
                    <a:pt x="30" y="74"/>
                  </a:cubicBezTo>
                  <a:close/>
                  <a:moveTo>
                    <a:pt x="30" y="53"/>
                  </a:moveTo>
                  <a:cubicBezTo>
                    <a:pt x="26" y="53"/>
                    <a:pt x="22" y="49"/>
                    <a:pt x="22" y="45"/>
                  </a:cubicBezTo>
                  <a:cubicBezTo>
                    <a:pt x="22" y="41"/>
                    <a:pt x="26" y="38"/>
                    <a:pt x="30" y="38"/>
                  </a:cubicBezTo>
                  <a:cubicBezTo>
                    <a:pt x="34" y="38"/>
                    <a:pt x="37" y="41"/>
                    <a:pt x="37" y="45"/>
                  </a:cubicBezTo>
                  <a:cubicBezTo>
                    <a:pt x="37" y="49"/>
                    <a:pt x="34" y="53"/>
                    <a:pt x="30" y="53"/>
                  </a:cubicBezTo>
                  <a:close/>
                  <a:moveTo>
                    <a:pt x="52" y="97"/>
                  </a:moveTo>
                  <a:cubicBezTo>
                    <a:pt x="48" y="97"/>
                    <a:pt x="44" y="94"/>
                    <a:pt x="44" y="90"/>
                  </a:cubicBezTo>
                  <a:cubicBezTo>
                    <a:pt x="44" y="86"/>
                    <a:pt x="48" y="82"/>
                    <a:pt x="52" y="82"/>
                  </a:cubicBezTo>
                  <a:cubicBezTo>
                    <a:pt x="56" y="82"/>
                    <a:pt x="59" y="86"/>
                    <a:pt x="59" y="90"/>
                  </a:cubicBezTo>
                  <a:cubicBezTo>
                    <a:pt x="59" y="94"/>
                    <a:pt x="56" y="97"/>
                    <a:pt x="52" y="97"/>
                  </a:cubicBezTo>
                  <a:close/>
                  <a:moveTo>
                    <a:pt x="52" y="74"/>
                  </a:moveTo>
                  <a:cubicBezTo>
                    <a:pt x="48" y="74"/>
                    <a:pt x="44" y="71"/>
                    <a:pt x="44" y="67"/>
                  </a:cubicBezTo>
                  <a:cubicBezTo>
                    <a:pt x="44" y="63"/>
                    <a:pt x="48" y="60"/>
                    <a:pt x="52" y="60"/>
                  </a:cubicBezTo>
                  <a:cubicBezTo>
                    <a:pt x="56" y="60"/>
                    <a:pt x="59" y="63"/>
                    <a:pt x="59" y="67"/>
                  </a:cubicBezTo>
                  <a:cubicBezTo>
                    <a:pt x="59" y="71"/>
                    <a:pt x="56" y="74"/>
                    <a:pt x="52" y="74"/>
                  </a:cubicBezTo>
                  <a:close/>
                  <a:moveTo>
                    <a:pt x="52" y="53"/>
                  </a:moveTo>
                  <a:cubicBezTo>
                    <a:pt x="48" y="53"/>
                    <a:pt x="44" y="49"/>
                    <a:pt x="44" y="45"/>
                  </a:cubicBezTo>
                  <a:cubicBezTo>
                    <a:pt x="44" y="41"/>
                    <a:pt x="48" y="38"/>
                    <a:pt x="52" y="38"/>
                  </a:cubicBezTo>
                  <a:cubicBezTo>
                    <a:pt x="56" y="38"/>
                    <a:pt x="59" y="41"/>
                    <a:pt x="59" y="45"/>
                  </a:cubicBezTo>
                  <a:cubicBezTo>
                    <a:pt x="59" y="49"/>
                    <a:pt x="56" y="53"/>
                    <a:pt x="52" y="53"/>
                  </a:cubicBezTo>
                  <a:close/>
                  <a:moveTo>
                    <a:pt x="255" y="119"/>
                  </a:moveTo>
                  <a:cubicBezTo>
                    <a:pt x="251" y="119"/>
                    <a:pt x="248" y="116"/>
                    <a:pt x="248" y="112"/>
                  </a:cubicBezTo>
                  <a:cubicBezTo>
                    <a:pt x="248" y="108"/>
                    <a:pt x="251" y="104"/>
                    <a:pt x="255" y="104"/>
                  </a:cubicBezTo>
                  <a:cubicBezTo>
                    <a:pt x="259" y="104"/>
                    <a:pt x="262" y="108"/>
                    <a:pt x="262" y="112"/>
                  </a:cubicBezTo>
                  <a:cubicBezTo>
                    <a:pt x="262" y="116"/>
                    <a:pt x="259" y="119"/>
                    <a:pt x="255" y="119"/>
                  </a:cubicBezTo>
                  <a:close/>
                  <a:moveTo>
                    <a:pt x="276" y="119"/>
                  </a:moveTo>
                  <a:cubicBezTo>
                    <a:pt x="272" y="119"/>
                    <a:pt x="269" y="116"/>
                    <a:pt x="269" y="112"/>
                  </a:cubicBezTo>
                  <a:cubicBezTo>
                    <a:pt x="269" y="108"/>
                    <a:pt x="272" y="104"/>
                    <a:pt x="276" y="104"/>
                  </a:cubicBezTo>
                  <a:cubicBezTo>
                    <a:pt x="280" y="104"/>
                    <a:pt x="283" y="108"/>
                    <a:pt x="283" y="112"/>
                  </a:cubicBezTo>
                  <a:cubicBezTo>
                    <a:pt x="283" y="116"/>
                    <a:pt x="280" y="119"/>
                    <a:pt x="276" y="119"/>
                  </a:cubicBezTo>
                  <a:close/>
                  <a:moveTo>
                    <a:pt x="284" y="87"/>
                  </a:moveTo>
                  <a:cubicBezTo>
                    <a:pt x="284" y="92"/>
                    <a:pt x="279" y="97"/>
                    <a:pt x="273" y="97"/>
                  </a:cubicBezTo>
                  <a:cubicBezTo>
                    <a:pt x="116" y="97"/>
                    <a:pt x="116" y="97"/>
                    <a:pt x="116" y="97"/>
                  </a:cubicBezTo>
                  <a:cubicBezTo>
                    <a:pt x="110" y="97"/>
                    <a:pt x="106" y="92"/>
                    <a:pt x="106" y="87"/>
                  </a:cubicBezTo>
                  <a:cubicBezTo>
                    <a:pt x="106" y="82"/>
                    <a:pt x="106" y="82"/>
                    <a:pt x="106" y="82"/>
                  </a:cubicBezTo>
                  <a:cubicBezTo>
                    <a:pt x="284" y="82"/>
                    <a:pt x="284" y="82"/>
                    <a:pt x="284" y="82"/>
                  </a:cubicBezTo>
                  <a:lnTo>
                    <a:pt x="284" y="87"/>
                  </a:lnTo>
                  <a:close/>
                  <a:moveTo>
                    <a:pt x="284" y="76"/>
                  </a:moveTo>
                  <a:cubicBezTo>
                    <a:pt x="106" y="76"/>
                    <a:pt x="106" y="76"/>
                    <a:pt x="106" y="76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284" y="61"/>
                    <a:pt x="284" y="61"/>
                    <a:pt x="284" y="61"/>
                  </a:cubicBezTo>
                  <a:lnTo>
                    <a:pt x="284" y="76"/>
                  </a:lnTo>
                  <a:close/>
                  <a:moveTo>
                    <a:pt x="284" y="55"/>
                  </a:moveTo>
                  <a:cubicBezTo>
                    <a:pt x="106" y="55"/>
                    <a:pt x="106" y="55"/>
                    <a:pt x="106" y="55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284" y="40"/>
                    <a:pt x="284" y="40"/>
                    <a:pt x="284" y="40"/>
                  </a:cubicBezTo>
                  <a:lnTo>
                    <a:pt x="284" y="55"/>
                  </a:lnTo>
                  <a:close/>
                  <a:moveTo>
                    <a:pt x="284" y="34"/>
                  </a:moveTo>
                  <a:cubicBezTo>
                    <a:pt x="106" y="34"/>
                    <a:pt x="106" y="34"/>
                    <a:pt x="106" y="34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06" y="25"/>
                    <a:pt x="110" y="20"/>
                    <a:pt x="116" y="20"/>
                  </a:cubicBezTo>
                  <a:cubicBezTo>
                    <a:pt x="273" y="20"/>
                    <a:pt x="273" y="20"/>
                    <a:pt x="273" y="20"/>
                  </a:cubicBezTo>
                  <a:cubicBezTo>
                    <a:pt x="279" y="20"/>
                    <a:pt x="284" y="25"/>
                    <a:pt x="284" y="30"/>
                  </a:cubicBezTo>
                  <a:lnTo>
                    <a:pt x="284" y="34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40395">
                <a:defRPr/>
              </a:pPr>
              <a:endParaRPr lang="en-US" sz="2400" ker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66" name="Freeform 51"/>
            <p:cNvSpPr>
              <a:spLocks noEditPoints="1"/>
            </p:cNvSpPr>
            <p:nvPr/>
          </p:nvSpPr>
          <p:spPr bwMode="auto">
            <a:xfrm>
              <a:off x="3745964" y="5842716"/>
              <a:ext cx="942756" cy="410910"/>
            </a:xfrm>
            <a:custGeom>
              <a:avLst/>
              <a:gdLst>
                <a:gd name="T0" fmla="*/ 18 w 304"/>
                <a:gd name="T1" fmla="*/ 0 h 131"/>
                <a:gd name="T2" fmla="*/ 0 w 304"/>
                <a:gd name="T3" fmla="*/ 114 h 131"/>
                <a:gd name="T4" fmla="*/ 286 w 304"/>
                <a:gd name="T5" fmla="*/ 131 h 131"/>
                <a:gd name="T6" fmla="*/ 304 w 304"/>
                <a:gd name="T7" fmla="*/ 18 h 131"/>
                <a:gd name="T8" fmla="*/ 30 w 304"/>
                <a:gd name="T9" fmla="*/ 97 h 131"/>
                <a:gd name="T10" fmla="*/ 30 w 304"/>
                <a:gd name="T11" fmla="*/ 82 h 131"/>
                <a:gd name="T12" fmla="*/ 30 w 304"/>
                <a:gd name="T13" fmla="*/ 97 h 131"/>
                <a:gd name="T14" fmla="*/ 22 w 304"/>
                <a:gd name="T15" fmla="*/ 67 h 131"/>
                <a:gd name="T16" fmla="*/ 37 w 304"/>
                <a:gd name="T17" fmla="*/ 67 h 131"/>
                <a:gd name="T18" fmla="*/ 30 w 304"/>
                <a:gd name="T19" fmla="*/ 53 h 131"/>
                <a:gd name="T20" fmla="*/ 30 w 304"/>
                <a:gd name="T21" fmla="*/ 38 h 131"/>
                <a:gd name="T22" fmla="*/ 30 w 304"/>
                <a:gd name="T23" fmla="*/ 53 h 131"/>
                <a:gd name="T24" fmla="*/ 44 w 304"/>
                <a:gd name="T25" fmla="*/ 90 h 131"/>
                <a:gd name="T26" fmla="*/ 59 w 304"/>
                <a:gd name="T27" fmla="*/ 90 h 131"/>
                <a:gd name="T28" fmla="*/ 52 w 304"/>
                <a:gd name="T29" fmla="*/ 74 h 131"/>
                <a:gd name="T30" fmla="*/ 52 w 304"/>
                <a:gd name="T31" fmla="*/ 60 h 131"/>
                <a:gd name="T32" fmla="*/ 52 w 304"/>
                <a:gd name="T33" fmla="*/ 74 h 131"/>
                <a:gd name="T34" fmla="*/ 44 w 304"/>
                <a:gd name="T35" fmla="*/ 45 h 131"/>
                <a:gd name="T36" fmla="*/ 59 w 304"/>
                <a:gd name="T37" fmla="*/ 45 h 131"/>
                <a:gd name="T38" fmla="*/ 255 w 304"/>
                <a:gd name="T39" fmla="*/ 119 h 131"/>
                <a:gd name="T40" fmla="*/ 255 w 304"/>
                <a:gd name="T41" fmla="*/ 104 h 131"/>
                <a:gd name="T42" fmla="*/ 255 w 304"/>
                <a:gd name="T43" fmla="*/ 119 h 131"/>
                <a:gd name="T44" fmla="*/ 269 w 304"/>
                <a:gd name="T45" fmla="*/ 112 h 131"/>
                <a:gd name="T46" fmla="*/ 283 w 304"/>
                <a:gd name="T47" fmla="*/ 112 h 131"/>
                <a:gd name="T48" fmla="*/ 284 w 304"/>
                <a:gd name="T49" fmla="*/ 87 h 131"/>
                <a:gd name="T50" fmla="*/ 116 w 304"/>
                <a:gd name="T51" fmla="*/ 97 h 131"/>
                <a:gd name="T52" fmla="*/ 106 w 304"/>
                <a:gd name="T53" fmla="*/ 82 h 131"/>
                <a:gd name="T54" fmla="*/ 284 w 304"/>
                <a:gd name="T55" fmla="*/ 87 h 131"/>
                <a:gd name="T56" fmla="*/ 106 w 304"/>
                <a:gd name="T57" fmla="*/ 76 h 131"/>
                <a:gd name="T58" fmla="*/ 284 w 304"/>
                <a:gd name="T59" fmla="*/ 61 h 131"/>
                <a:gd name="T60" fmla="*/ 284 w 304"/>
                <a:gd name="T61" fmla="*/ 55 h 131"/>
                <a:gd name="T62" fmla="*/ 106 w 304"/>
                <a:gd name="T63" fmla="*/ 40 h 131"/>
                <a:gd name="T64" fmla="*/ 284 w 304"/>
                <a:gd name="T65" fmla="*/ 55 h 131"/>
                <a:gd name="T66" fmla="*/ 106 w 304"/>
                <a:gd name="T67" fmla="*/ 34 h 131"/>
                <a:gd name="T68" fmla="*/ 116 w 304"/>
                <a:gd name="T69" fmla="*/ 20 h 131"/>
                <a:gd name="T70" fmla="*/ 284 w 304"/>
                <a:gd name="T71" fmla="*/ 3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4" h="131">
                  <a:moveTo>
                    <a:pt x="286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24"/>
                    <a:pt x="8" y="131"/>
                    <a:pt x="18" y="131"/>
                  </a:cubicBezTo>
                  <a:cubicBezTo>
                    <a:pt x="286" y="131"/>
                    <a:pt x="286" y="131"/>
                    <a:pt x="286" y="131"/>
                  </a:cubicBezTo>
                  <a:cubicBezTo>
                    <a:pt x="296" y="131"/>
                    <a:pt x="304" y="124"/>
                    <a:pt x="304" y="114"/>
                  </a:cubicBezTo>
                  <a:cubicBezTo>
                    <a:pt x="304" y="18"/>
                    <a:pt x="304" y="18"/>
                    <a:pt x="304" y="18"/>
                  </a:cubicBezTo>
                  <a:cubicBezTo>
                    <a:pt x="304" y="8"/>
                    <a:pt x="296" y="0"/>
                    <a:pt x="286" y="0"/>
                  </a:cubicBezTo>
                  <a:close/>
                  <a:moveTo>
                    <a:pt x="30" y="97"/>
                  </a:moveTo>
                  <a:cubicBezTo>
                    <a:pt x="26" y="97"/>
                    <a:pt x="22" y="94"/>
                    <a:pt x="22" y="90"/>
                  </a:cubicBezTo>
                  <a:cubicBezTo>
                    <a:pt x="22" y="86"/>
                    <a:pt x="26" y="82"/>
                    <a:pt x="30" y="82"/>
                  </a:cubicBezTo>
                  <a:cubicBezTo>
                    <a:pt x="34" y="82"/>
                    <a:pt x="37" y="86"/>
                    <a:pt x="37" y="90"/>
                  </a:cubicBezTo>
                  <a:cubicBezTo>
                    <a:pt x="37" y="94"/>
                    <a:pt x="34" y="97"/>
                    <a:pt x="30" y="97"/>
                  </a:cubicBezTo>
                  <a:close/>
                  <a:moveTo>
                    <a:pt x="30" y="74"/>
                  </a:moveTo>
                  <a:cubicBezTo>
                    <a:pt x="26" y="74"/>
                    <a:pt x="22" y="71"/>
                    <a:pt x="22" y="67"/>
                  </a:cubicBezTo>
                  <a:cubicBezTo>
                    <a:pt x="22" y="63"/>
                    <a:pt x="26" y="60"/>
                    <a:pt x="30" y="60"/>
                  </a:cubicBezTo>
                  <a:cubicBezTo>
                    <a:pt x="34" y="60"/>
                    <a:pt x="37" y="63"/>
                    <a:pt x="37" y="67"/>
                  </a:cubicBezTo>
                  <a:cubicBezTo>
                    <a:pt x="37" y="71"/>
                    <a:pt x="34" y="74"/>
                    <a:pt x="30" y="74"/>
                  </a:cubicBezTo>
                  <a:close/>
                  <a:moveTo>
                    <a:pt x="30" y="53"/>
                  </a:moveTo>
                  <a:cubicBezTo>
                    <a:pt x="26" y="53"/>
                    <a:pt x="22" y="49"/>
                    <a:pt x="22" y="45"/>
                  </a:cubicBezTo>
                  <a:cubicBezTo>
                    <a:pt x="22" y="41"/>
                    <a:pt x="26" y="38"/>
                    <a:pt x="30" y="38"/>
                  </a:cubicBezTo>
                  <a:cubicBezTo>
                    <a:pt x="34" y="38"/>
                    <a:pt x="37" y="41"/>
                    <a:pt x="37" y="45"/>
                  </a:cubicBezTo>
                  <a:cubicBezTo>
                    <a:pt x="37" y="49"/>
                    <a:pt x="34" y="53"/>
                    <a:pt x="30" y="53"/>
                  </a:cubicBezTo>
                  <a:close/>
                  <a:moveTo>
                    <a:pt x="52" y="97"/>
                  </a:moveTo>
                  <a:cubicBezTo>
                    <a:pt x="48" y="97"/>
                    <a:pt x="44" y="94"/>
                    <a:pt x="44" y="90"/>
                  </a:cubicBezTo>
                  <a:cubicBezTo>
                    <a:pt x="44" y="86"/>
                    <a:pt x="48" y="82"/>
                    <a:pt x="52" y="82"/>
                  </a:cubicBezTo>
                  <a:cubicBezTo>
                    <a:pt x="56" y="82"/>
                    <a:pt x="59" y="86"/>
                    <a:pt x="59" y="90"/>
                  </a:cubicBezTo>
                  <a:cubicBezTo>
                    <a:pt x="59" y="94"/>
                    <a:pt x="56" y="97"/>
                    <a:pt x="52" y="97"/>
                  </a:cubicBezTo>
                  <a:close/>
                  <a:moveTo>
                    <a:pt x="52" y="74"/>
                  </a:moveTo>
                  <a:cubicBezTo>
                    <a:pt x="48" y="74"/>
                    <a:pt x="44" y="71"/>
                    <a:pt x="44" y="67"/>
                  </a:cubicBezTo>
                  <a:cubicBezTo>
                    <a:pt x="44" y="63"/>
                    <a:pt x="48" y="60"/>
                    <a:pt x="52" y="60"/>
                  </a:cubicBezTo>
                  <a:cubicBezTo>
                    <a:pt x="56" y="60"/>
                    <a:pt x="59" y="63"/>
                    <a:pt x="59" y="67"/>
                  </a:cubicBezTo>
                  <a:cubicBezTo>
                    <a:pt x="59" y="71"/>
                    <a:pt x="56" y="74"/>
                    <a:pt x="52" y="74"/>
                  </a:cubicBezTo>
                  <a:close/>
                  <a:moveTo>
                    <a:pt x="52" y="53"/>
                  </a:moveTo>
                  <a:cubicBezTo>
                    <a:pt x="48" y="53"/>
                    <a:pt x="44" y="49"/>
                    <a:pt x="44" y="45"/>
                  </a:cubicBezTo>
                  <a:cubicBezTo>
                    <a:pt x="44" y="41"/>
                    <a:pt x="48" y="38"/>
                    <a:pt x="52" y="38"/>
                  </a:cubicBezTo>
                  <a:cubicBezTo>
                    <a:pt x="56" y="38"/>
                    <a:pt x="59" y="41"/>
                    <a:pt x="59" y="45"/>
                  </a:cubicBezTo>
                  <a:cubicBezTo>
                    <a:pt x="59" y="49"/>
                    <a:pt x="56" y="53"/>
                    <a:pt x="52" y="53"/>
                  </a:cubicBezTo>
                  <a:close/>
                  <a:moveTo>
                    <a:pt x="255" y="119"/>
                  </a:moveTo>
                  <a:cubicBezTo>
                    <a:pt x="251" y="119"/>
                    <a:pt x="248" y="116"/>
                    <a:pt x="248" y="112"/>
                  </a:cubicBezTo>
                  <a:cubicBezTo>
                    <a:pt x="248" y="108"/>
                    <a:pt x="251" y="104"/>
                    <a:pt x="255" y="104"/>
                  </a:cubicBezTo>
                  <a:cubicBezTo>
                    <a:pt x="259" y="104"/>
                    <a:pt x="262" y="108"/>
                    <a:pt x="262" y="112"/>
                  </a:cubicBezTo>
                  <a:cubicBezTo>
                    <a:pt x="262" y="116"/>
                    <a:pt x="259" y="119"/>
                    <a:pt x="255" y="119"/>
                  </a:cubicBezTo>
                  <a:close/>
                  <a:moveTo>
                    <a:pt x="276" y="119"/>
                  </a:moveTo>
                  <a:cubicBezTo>
                    <a:pt x="272" y="119"/>
                    <a:pt x="269" y="116"/>
                    <a:pt x="269" y="112"/>
                  </a:cubicBezTo>
                  <a:cubicBezTo>
                    <a:pt x="269" y="108"/>
                    <a:pt x="272" y="104"/>
                    <a:pt x="276" y="104"/>
                  </a:cubicBezTo>
                  <a:cubicBezTo>
                    <a:pt x="280" y="104"/>
                    <a:pt x="283" y="108"/>
                    <a:pt x="283" y="112"/>
                  </a:cubicBezTo>
                  <a:cubicBezTo>
                    <a:pt x="283" y="116"/>
                    <a:pt x="280" y="119"/>
                    <a:pt x="276" y="119"/>
                  </a:cubicBezTo>
                  <a:close/>
                  <a:moveTo>
                    <a:pt x="284" y="87"/>
                  </a:moveTo>
                  <a:cubicBezTo>
                    <a:pt x="284" y="92"/>
                    <a:pt x="279" y="97"/>
                    <a:pt x="273" y="97"/>
                  </a:cubicBezTo>
                  <a:cubicBezTo>
                    <a:pt x="116" y="97"/>
                    <a:pt x="116" y="97"/>
                    <a:pt x="116" y="97"/>
                  </a:cubicBezTo>
                  <a:cubicBezTo>
                    <a:pt x="110" y="97"/>
                    <a:pt x="106" y="92"/>
                    <a:pt x="106" y="87"/>
                  </a:cubicBezTo>
                  <a:cubicBezTo>
                    <a:pt x="106" y="82"/>
                    <a:pt x="106" y="82"/>
                    <a:pt x="106" y="82"/>
                  </a:cubicBezTo>
                  <a:cubicBezTo>
                    <a:pt x="284" y="82"/>
                    <a:pt x="284" y="82"/>
                    <a:pt x="284" y="82"/>
                  </a:cubicBezTo>
                  <a:lnTo>
                    <a:pt x="284" y="87"/>
                  </a:lnTo>
                  <a:close/>
                  <a:moveTo>
                    <a:pt x="284" y="76"/>
                  </a:moveTo>
                  <a:cubicBezTo>
                    <a:pt x="106" y="76"/>
                    <a:pt x="106" y="76"/>
                    <a:pt x="106" y="76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284" y="61"/>
                    <a:pt x="284" y="61"/>
                    <a:pt x="284" y="61"/>
                  </a:cubicBezTo>
                  <a:lnTo>
                    <a:pt x="284" y="76"/>
                  </a:lnTo>
                  <a:close/>
                  <a:moveTo>
                    <a:pt x="284" y="55"/>
                  </a:moveTo>
                  <a:cubicBezTo>
                    <a:pt x="106" y="55"/>
                    <a:pt x="106" y="55"/>
                    <a:pt x="106" y="55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284" y="40"/>
                    <a:pt x="284" y="40"/>
                    <a:pt x="284" y="40"/>
                  </a:cubicBezTo>
                  <a:lnTo>
                    <a:pt x="284" y="55"/>
                  </a:lnTo>
                  <a:close/>
                  <a:moveTo>
                    <a:pt x="284" y="34"/>
                  </a:moveTo>
                  <a:cubicBezTo>
                    <a:pt x="106" y="34"/>
                    <a:pt x="106" y="34"/>
                    <a:pt x="106" y="34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06" y="25"/>
                    <a:pt x="110" y="20"/>
                    <a:pt x="116" y="20"/>
                  </a:cubicBezTo>
                  <a:cubicBezTo>
                    <a:pt x="273" y="20"/>
                    <a:pt x="273" y="20"/>
                    <a:pt x="273" y="20"/>
                  </a:cubicBezTo>
                  <a:cubicBezTo>
                    <a:pt x="279" y="20"/>
                    <a:pt x="284" y="25"/>
                    <a:pt x="284" y="30"/>
                  </a:cubicBezTo>
                  <a:lnTo>
                    <a:pt x="284" y="34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40395">
                <a:defRPr/>
              </a:pPr>
              <a:endParaRPr lang="en-US" sz="2400" ker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68" name="Freeform 52"/>
            <p:cNvSpPr>
              <a:spLocks noEditPoints="1"/>
            </p:cNvSpPr>
            <p:nvPr/>
          </p:nvSpPr>
          <p:spPr bwMode="auto">
            <a:xfrm>
              <a:off x="4803121" y="5842716"/>
              <a:ext cx="942756" cy="410910"/>
            </a:xfrm>
            <a:custGeom>
              <a:avLst/>
              <a:gdLst>
                <a:gd name="T0" fmla="*/ 18 w 304"/>
                <a:gd name="T1" fmla="*/ 0 h 131"/>
                <a:gd name="T2" fmla="*/ 0 w 304"/>
                <a:gd name="T3" fmla="*/ 114 h 131"/>
                <a:gd name="T4" fmla="*/ 286 w 304"/>
                <a:gd name="T5" fmla="*/ 131 h 131"/>
                <a:gd name="T6" fmla="*/ 304 w 304"/>
                <a:gd name="T7" fmla="*/ 18 h 131"/>
                <a:gd name="T8" fmla="*/ 30 w 304"/>
                <a:gd name="T9" fmla="*/ 97 h 131"/>
                <a:gd name="T10" fmla="*/ 30 w 304"/>
                <a:gd name="T11" fmla="*/ 82 h 131"/>
                <a:gd name="T12" fmla="*/ 30 w 304"/>
                <a:gd name="T13" fmla="*/ 97 h 131"/>
                <a:gd name="T14" fmla="*/ 22 w 304"/>
                <a:gd name="T15" fmla="*/ 67 h 131"/>
                <a:gd name="T16" fmla="*/ 37 w 304"/>
                <a:gd name="T17" fmla="*/ 67 h 131"/>
                <a:gd name="T18" fmla="*/ 30 w 304"/>
                <a:gd name="T19" fmla="*/ 53 h 131"/>
                <a:gd name="T20" fmla="*/ 30 w 304"/>
                <a:gd name="T21" fmla="*/ 38 h 131"/>
                <a:gd name="T22" fmla="*/ 30 w 304"/>
                <a:gd name="T23" fmla="*/ 53 h 131"/>
                <a:gd name="T24" fmla="*/ 44 w 304"/>
                <a:gd name="T25" fmla="*/ 90 h 131"/>
                <a:gd name="T26" fmla="*/ 59 w 304"/>
                <a:gd name="T27" fmla="*/ 90 h 131"/>
                <a:gd name="T28" fmla="*/ 52 w 304"/>
                <a:gd name="T29" fmla="*/ 74 h 131"/>
                <a:gd name="T30" fmla="*/ 52 w 304"/>
                <a:gd name="T31" fmla="*/ 60 h 131"/>
                <a:gd name="T32" fmla="*/ 52 w 304"/>
                <a:gd name="T33" fmla="*/ 74 h 131"/>
                <a:gd name="T34" fmla="*/ 44 w 304"/>
                <a:gd name="T35" fmla="*/ 45 h 131"/>
                <a:gd name="T36" fmla="*/ 59 w 304"/>
                <a:gd name="T37" fmla="*/ 45 h 131"/>
                <a:gd name="T38" fmla="*/ 255 w 304"/>
                <a:gd name="T39" fmla="*/ 119 h 131"/>
                <a:gd name="T40" fmla="*/ 255 w 304"/>
                <a:gd name="T41" fmla="*/ 104 h 131"/>
                <a:gd name="T42" fmla="*/ 255 w 304"/>
                <a:gd name="T43" fmla="*/ 119 h 131"/>
                <a:gd name="T44" fmla="*/ 269 w 304"/>
                <a:gd name="T45" fmla="*/ 112 h 131"/>
                <a:gd name="T46" fmla="*/ 283 w 304"/>
                <a:gd name="T47" fmla="*/ 112 h 131"/>
                <a:gd name="T48" fmla="*/ 284 w 304"/>
                <a:gd name="T49" fmla="*/ 87 h 131"/>
                <a:gd name="T50" fmla="*/ 116 w 304"/>
                <a:gd name="T51" fmla="*/ 97 h 131"/>
                <a:gd name="T52" fmla="*/ 106 w 304"/>
                <a:gd name="T53" fmla="*/ 82 h 131"/>
                <a:gd name="T54" fmla="*/ 284 w 304"/>
                <a:gd name="T55" fmla="*/ 87 h 131"/>
                <a:gd name="T56" fmla="*/ 106 w 304"/>
                <a:gd name="T57" fmla="*/ 76 h 131"/>
                <a:gd name="T58" fmla="*/ 284 w 304"/>
                <a:gd name="T59" fmla="*/ 61 h 131"/>
                <a:gd name="T60" fmla="*/ 284 w 304"/>
                <a:gd name="T61" fmla="*/ 55 h 131"/>
                <a:gd name="T62" fmla="*/ 106 w 304"/>
                <a:gd name="T63" fmla="*/ 40 h 131"/>
                <a:gd name="T64" fmla="*/ 284 w 304"/>
                <a:gd name="T65" fmla="*/ 55 h 131"/>
                <a:gd name="T66" fmla="*/ 106 w 304"/>
                <a:gd name="T67" fmla="*/ 34 h 131"/>
                <a:gd name="T68" fmla="*/ 116 w 304"/>
                <a:gd name="T69" fmla="*/ 20 h 131"/>
                <a:gd name="T70" fmla="*/ 284 w 304"/>
                <a:gd name="T71" fmla="*/ 3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4" h="131">
                  <a:moveTo>
                    <a:pt x="286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24"/>
                    <a:pt x="8" y="131"/>
                    <a:pt x="18" y="131"/>
                  </a:cubicBezTo>
                  <a:cubicBezTo>
                    <a:pt x="286" y="131"/>
                    <a:pt x="286" y="131"/>
                    <a:pt x="286" y="131"/>
                  </a:cubicBezTo>
                  <a:cubicBezTo>
                    <a:pt x="296" y="131"/>
                    <a:pt x="304" y="124"/>
                    <a:pt x="304" y="114"/>
                  </a:cubicBezTo>
                  <a:cubicBezTo>
                    <a:pt x="304" y="18"/>
                    <a:pt x="304" y="18"/>
                    <a:pt x="304" y="18"/>
                  </a:cubicBezTo>
                  <a:cubicBezTo>
                    <a:pt x="304" y="8"/>
                    <a:pt x="296" y="0"/>
                    <a:pt x="286" y="0"/>
                  </a:cubicBezTo>
                  <a:close/>
                  <a:moveTo>
                    <a:pt x="30" y="97"/>
                  </a:moveTo>
                  <a:cubicBezTo>
                    <a:pt x="26" y="97"/>
                    <a:pt x="22" y="94"/>
                    <a:pt x="22" y="90"/>
                  </a:cubicBezTo>
                  <a:cubicBezTo>
                    <a:pt x="22" y="86"/>
                    <a:pt x="26" y="82"/>
                    <a:pt x="30" y="82"/>
                  </a:cubicBezTo>
                  <a:cubicBezTo>
                    <a:pt x="34" y="82"/>
                    <a:pt x="37" y="86"/>
                    <a:pt x="37" y="90"/>
                  </a:cubicBezTo>
                  <a:cubicBezTo>
                    <a:pt x="37" y="94"/>
                    <a:pt x="34" y="97"/>
                    <a:pt x="30" y="97"/>
                  </a:cubicBezTo>
                  <a:close/>
                  <a:moveTo>
                    <a:pt x="30" y="74"/>
                  </a:moveTo>
                  <a:cubicBezTo>
                    <a:pt x="26" y="74"/>
                    <a:pt x="22" y="71"/>
                    <a:pt x="22" y="67"/>
                  </a:cubicBezTo>
                  <a:cubicBezTo>
                    <a:pt x="22" y="63"/>
                    <a:pt x="26" y="60"/>
                    <a:pt x="30" y="60"/>
                  </a:cubicBezTo>
                  <a:cubicBezTo>
                    <a:pt x="34" y="60"/>
                    <a:pt x="37" y="63"/>
                    <a:pt x="37" y="67"/>
                  </a:cubicBezTo>
                  <a:cubicBezTo>
                    <a:pt x="37" y="71"/>
                    <a:pt x="34" y="74"/>
                    <a:pt x="30" y="74"/>
                  </a:cubicBezTo>
                  <a:close/>
                  <a:moveTo>
                    <a:pt x="30" y="53"/>
                  </a:moveTo>
                  <a:cubicBezTo>
                    <a:pt x="26" y="53"/>
                    <a:pt x="22" y="49"/>
                    <a:pt x="22" y="45"/>
                  </a:cubicBezTo>
                  <a:cubicBezTo>
                    <a:pt x="22" y="41"/>
                    <a:pt x="26" y="38"/>
                    <a:pt x="30" y="38"/>
                  </a:cubicBezTo>
                  <a:cubicBezTo>
                    <a:pt x="34" y="38"/>
                    <a:pt x="37" y="41"/>
                    <a:pt x="37" y="45"/>
                  </a:cubicBezTo>
                  <a:cubicBezTo>
                    <a:pt x="37" y="49"/>
                    <a:pt x="34" y="53"/>
                    <a:pt x="30" y="53"/>
                  </a:cubicBezTo>
                  <a:close/>
                  <a:moveTo>
                    <a:pt x="52" y="97"/>
                  </a:moveTo>
                  <a:cubicBezTo>
                    <a:pt x="48" y="97"/>
                    <a:pt x="44" y="94"/>
                    <a:pt x="44" y="90"/>
                  </a:cubicBezTo>
                  <a:cubicBezTo>
                    <a:pt x="44" y="86"/>
                    <a:pt x="48" y="82"/>
                    <a:pt x="52" y="82"/>
                  </a:cubicBezTo>
                  <a:cubicBezTo>
                    <a:pt x="56" y="82"/>
                    <a:pt x="59" y="86"/>
                    <a:pt x="59" y="90"/>
                  </a:cubicBezTo>
                  <a:cubicBezTo>
                    <a:pt x="59" y="94"/>
                    <a:pt x="56" y="97"/>
                    <a:pt x="52" y="97"/>
                  </a:cubicBezTo>
                  <a:close/>
                  <a:moveTo>
                    <a:pt x="52" y="74"/>
                  </a:moveTo>
                  <a:cubicBezTo>
                    <a:pt x="48" y="74"/>
                    <a:pt x="44" y="71"/>
                    <a:pt x="44" y="67"/>
                  </a:cubicBezTo>
                  <a:cubicBezTo>
                    <a:pt x="44" y="63"/>
                    <a:pt x="48" y="60"/>
                    <a:pt x="52" y="60"/>
                  </a:cubicBezTo>
                  <a:cubicBezTo>
                    <a:pt x="56" y="60"/>
                    <a:pt x="59" y="63"/>
                    <a:pt x="59" y="67"/>
                  </a:cubicBezTo>
                  <a:cubicBezTo>
                    <a:pt x="59" y="71"/>
                    <a:pt x="56" y="74"/>
                    <a:pt x="52" y="74"/>
                  </a:cubicBezTo>
                  <a:close/>
                  <a:moveTo>
                    <a:pt x="52" y="53"/>
                  </a:moveTo>
                  <a:cubicBezTo>
                    <a:pt x="48" y="53"/>
                    <a:pt x="44" y="49"/>
                    <a:pt x="44" y="45"/>
                  </a:cubicBezTo>
                  <a:cubicBezTo>
                    <a:pt x="44" y="41"/>
                    <a:pt x="48" y="38"/>
                    <a:pt x="52" y="38"/>
                  </a:cubicBezTo>
                  <a:cubicBezTo>
                    <a:pt x="56" y="38"/>
                    <a:pt x="59" y="41"/>
                    <a:pt x="59" y="45"/>
                  </a:cubicBezTo>
                  <a:cubicBezTo>
                    <a:pt x="59" y="49"/>
                    <a:pt x="56" y="53"/>
                    <a:pt x="52" y="53"/>
                  </a:cubicBezTo>
                  <a:close/>
                  <a:moveTo>
                    <a:pt x="255" y="119"/>
                  </a:moveTo>
                  <a:cubicBezTo>
                    <a:pt x="251" y="119"/>
                    <a:pt x="248" y="116"/>
                    <a:pt x="248" y="112"/>
                  </a:cubicBezTo>
                  <a:cubicBezTo>
                    <a:pt x="248" y="108"/>
                    <a:pt x="251" y="104"/>
                    <a:pt x="255" y="104"/>
                  </a:cubicBezTo>
                  <a:cubicBezTo>
                    <a:pt x="259" y="104"/>
                    <a:pt x="262" y="108"/>
                    <a:pt x="262" y="112"/>
                  </a:cubicBezTo>
                  <a:cubicBezTo>
                    <a:pt x="262" y="116"/>
                    <a:pt x="259" y="119"/>
                    <a:pt x="255" y="119"/>
                  </a:cubicBezTo>
                  <a:close/>
                  <a:moveTo>
                    <a:pt x="276" y="119"/>
                  </a:moveTo>
                  <a:cubicBezTo>
                    <a:pt x="272" y="119"/>
                    <a:pt x="269" y="116"/>
                    <a:pt x="269" y="112"/>
                  </a:cubicBezTo>
                  <a:cubicBezTo>
                    <a:pt x="269" y="108"/>
                    <a:pt x="272" y="104"/>
                    <a:pt x="276" y="104"/>
                  </a:cubicBezTo>
                  <a:cubicBezTo>
                    <a:pt x="280" y="104"/>
                    <a:pt x="283" y="108"/>
                    <a:pt x="283" y="112"/>
                  </a:cubicBezTo>
                  <a:cubicBezTo>
                    <a:pt x="283" y="116"/>
                    <a:pt x="280" y="119"/>
                    <a:pt x="276" y="119"/>
                  </a:cubicBezTo>
                  <a:close/>
                  <a:moveTo>
                    <a:pt x="284" y="87"/>
                  </a:moveTo>
                  <a:cubicBezTo>
                    <a:pt x="284" y="92"/>
                    <a:pt x="279" y="97"/>
                    <a:pt x="273" y="97"/>
                  </a:cubicBezTo>
                  <a:cubicBezTo>
                    <a:pt x="116" y="97"/>
                    <a:pt x="116" y="97"/>
                    <a:pt x="116" y="97"/>
                  </a:cubicBezTo>
                  <a:cubicBezTo>
                    <a:pt x="110" y="97"/>
                    <a:pt x="106" y="92"/>
                    <a:pt x="106" y="87"/>
                  </a:cubicBezTo>
                  <a:cubicBezTo>
                    <a:pt x="106" y="82"/>
                    <a:pt x="106" y="82"/>
                    <a:pt x="106" y="82"/>
                  </a:cubicBezTo>
                  <a:cubicBezTo>
                    <a:pt x="284" y="82"/>
                    <a:pt x="284" y="82"/>
                    <a:pt x="284" y="82"/>
                  </a:cubicBezTo>
                  <a:lnTo>
                    <a:pt x="284" y="87"/>
                  </a:lnTo>
                  <a:close/>
                  <a:moveTo>
                    <a:pt x="284" y="76"/>
                  </a:moveTo>
                  <a:cubicBezTo>
                    <a:pt x="106" y="76"/>
                    <a:pt x="106" y="76"/>
                    <a:pt x="106" y="76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284" y="61"/>
                    <a:pt x="284" y="61"/>
                    <a:pt x="284" y="61"/>
                  </a:cubicBezTo>
                  <a:lnTo>
                    <a:pt x="284" y="76"/>
                  </a:lnTo>
                  <a:close/>
                  <a:moveTo>
                    <a:pt x="284" y="55"/>
                  </a:moveTo>
                  <a:cubicBezTo>
                    <a:pt x="106" y="55"/>
                    <a:pt x="106" y="55"/>
                    <a:pt x="106" y="55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284" y="40"/>
                    <a:pt x="284" y="40"/>
                    <a:pt x="284" y="40"/>
                  </a:cubicBezTo>
                  <a:lnTo>
                    <a:pt x="284" y="55"/>
                  </a:lnTo>
                  <a:close/>
                  <a:moveTo>
                    <a:pt x="284" y="34"/>
                  </a:moveTo>
                  <a:cubicBezTo>
                    <a:pt x="106" y="34"/>
                    <a:pt x="106" y="34"/>
                    <a:pt x="106" y="34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06" y="25"/>
                    <a:pt x="110" y="20"/>
                    <a:pt x="116" y="20"/>
                  </a:cubicBezTo>
                  <a:cubicBezTo>
                    <a:pt x="273" y="20"/>
                    <a:pt x="273" y="20"/>
                    <a:pt x="273" y="20"/>
                  </a:cubicBezTo>
                  <a:cubicBezTo>
                    <a:pt x="279" y="20"/>
                    <a:pt x="284" y="25"/>
                    <a:pt x="284" y="30"/>
                  </a:cubicBezTo>
                  <a:lnTo>
                    <a:pt x="284" y="34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40395">
                <a:defRPr/>
              </a:pPr>
              <a:endParaRPr lang="en-US" sz="2400" ker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82" name="Group 63"/>
          <p:cNvGrpSpPr>
            <a:grpSpLocks/>
          </p:cNvGrpSpPr>
          <p:nvPr/>
        </p:nvGrpSpPr>
        <p:grpSpPr bwMode="auto">
          <a:xfrm>
            <a:off x="8330115" y="3695391"/>
            <a:ext cx="507934" cy="427919"/>
            <a:chOff x="6137753" y="1587985"/>
            <a:chExt cx="596386" cy="481363"/>
          </a:xfrm>
        </p:grpSpPr>
        <p:pic>
          <p:nvPicPr>
            <p:cNvPr id="83" name="Picture 64"/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137753" y="1587985"/>
              <a:ext cx="269095" cy="3306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4" name="Picture 65" descr="settings.png"/>
            <p:cNvPicPr>
              <a:picLocks noChangeAspect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272300" y="1607508"/>
              <a:ext cx="461839" cy="4618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5" name="Rectangle 535"/>
          <p:cNvSpPr/>
          <p:nvPr/>
        </p:nvSpPr>
        <p:spPr bwMode="auto">
          <a:xfrm>
            <a:off x="5622239" y="2577780"/>
            <a:ext cx="2098356" cy="263149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240156">
              <a:lnSpc>
                <a:spcPct val="90000"/>
              </a:lnSpc>
              <a:spcBef>
                <a:spcPts val="1599"/>
              </a:spcBef>
            </a:pPr>
            <a:r>
              <a:rPr lang="en-US" altLang="zh-CN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ến</a:t>
            </a:r>
            <a:r>
              <a:rPr lang="en-US" altLang="zh-CN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/ </a:t>
            </a:r>
            <a:r>
              <a:rPr lang="en-US" altLang="zh-CN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ạm</a:t>
            </a:r>
            <a:r>
              <a:rPr lang="en-US" altLang="zh-CN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Xe</a:t>
            </a:r>
            <a:endParaRPr lang="en-US" spc="-40" dirty="0">
              <a:solidFill>
                <a:srgbClr val="FFFFFF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31" name="Picture 6" descr="\\MAGNUM\Projects\Microsoft\Cloud Power FY12\Design\ICONS_PNG\Cloud.png"/>
          <p:cNvPicPr>
            <a:picLocks noChangeAspect="1" noChangeArrowheads="1"/>
          </p:cNvPicPr>
          <p:nvPr/>
        </p:nvPicPr>
        <p:blipFill>
          <a:blip r:embed="rId8" cstate="print">
            <a:lum bright="100000"/>
          </a:blip>
          <a:srcRect/>
          <a:stretch>
            <a:fillRect/>
          </a:stretch>
        </p:blipFill>
        <p:spPr bwMode="auto">
          <a:xfrm>
            <a:off x="3715707" y="2717380"/>
            <a:ext cx="1044677" cy="1044813"/>
          </a:xfrm>
          <a:prstGeom prst="rect">
            <a:avLst/>
          </a:prstGeom>
          <a:noFill/>
        </p:spPr>
      </p:pic>
      <p:pic>
        <p:nvPicPr>
          <p:cNvPr id="32" name="图片 31" descr="DSS7016副本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119562" y="3187384"/>
            <a:ext cx="1334398" cy="368565"/>
          </a:xfrm>
          <a:prstGeom prst="rect">
            <a:avLst/>
          </a:prstGeom>
        </p:spPr>
      </p:pic>
      <p:cxnSp>
        <p:nvCxnSpPr>
          <p:cNvPr id="38" name="Straight Connector 70"/>
          <p:cNvCxnSpPr/>
          <p:nvPr/>
        </p:nvCxnSpPr>
        <p:spPr>
          <a:xfrm>
            <a:off x="3453950" y="3288984"/>
            <a:ext cx="507934" cy="2117"/>
          </a:xfrm>
          <a:prstGeom prst="line">
            <a:avLst/>
          </a:prstGeom>
          <a:noFill/>
          <a:ln w="19050" cap="rnd" cmpd="sng" algn="ctr">
            <a:solidFill>
              <a:srgbClr val="FFFFFF"/>
            </a:solidFill>
            <a:prstDash val="sysDot"/>
            <a:headEnd type="triangle" w="med" len="med"/>
            <a:tailEnd type="triangle" w="med" len="med"/>
          </a:ln>
          <a:effectLst/>
        </p:spPr>
      </p:cxnSp>
      <p:cxnSp>
        <p:nvCxnSpPr>
          <p:cNvPr id="39" name="Straight Connector 70"/>
          <p:cNvCxnSpPr/>
          <p:nvPr/>
        </p:nvCxnSpPr>
        <p:spPr>
          <a:xfrm>
            <a:off x="1930162" y="2476204"/>
            <a:ext cx="665631" cy="6025"/>
          </a:xfrm>
          <a:prstGeom prst="line">
            <a:avLst/>
          </a:prstGeom>
          <a:noFill/>
          <a:ln w="19050" cap="rnd" cmpd="sng" algn="ctr">
            <a:solidFill>
              <a:srgbClr val="FFFFFF"/>
            </a:solidFill>
            <a:prstDash val="sysDot"/>
            <a:headEnd type="arrow" w="med" len="med"/>
            <a:tailEnd type="none" w="med" len="med"/>
          </a:ln>
          <a:effectLst/>
        </p:spPr>
      </p:cxnSp>
      <p:cxnSp>
        <p:nvCxnSpPr>
          <p:cNvPr id="41" name="Straight Connector 70"/>
          <p:cNvCxnSpPr/>
          <p:nvPr/>
        </p:nvCxnSpPr>
        <p:spPr>
          <a:xfrm>
            <a:off x="2595779" y="2492152"/>
            <a:ext cx="0" cy="695216"/>
          </a:xfrm>
          <a:prstGeom prst="line">
            <a:avLst/>
          </a:prstGeom>
          <a:noFill/>
          <a:ln w="19050" cap="rnd" cmpd="sng" algn="ctr">
            <a:solidFill>
              <a:srgbClr val="FFFFFF"/>
            </a:solidFill>
            <a:prstDash val="sysDot"/>
            <a:headEnd type="none" w="med" len="med"/>
            <a:tailEnd type="none" w="med" len="med"/>
          </a:ln>
          <a:effectLst/>
        </p:spPr>
      </p:cxnSp>
      <p:sp>
        <p:nvSpPr>
          <p:cNvPr id="8" name="文本框 7"/>
          <p:cNvSpPr txBox="1"/>
          <p:nvPr/>
        </p:nvSpPr>
        <p:spPr>
          <a:xfrm>
            <a:off x="3835498" y="3085803"/>
            <a:ext cx="1040675" cy="328295"/>
          </a:xfrm>
          <a:prstGeom prst="rect">
            <a:avLst/>
          </a:prstGeom>
          <a:noFill/>
        </p:spPr>
        <p:txBody>
          <a:bodyPr wrap="square" lIns="121649" tIns="60825" rIns="121649" bIns="60825" rtlCol="0">
            <a:spAutoFit/>
          </a:bodyPr>
          <a:lstStyle/>
          <a:p>
            <a:pPr defTabSz="1216460"/>
            <a:r>
              <a:rPr lang="en-US" sz="13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</a:t>
            </a:r>
            <a:r>
              <a:rPr lang="en-US" altLang="zh-CN" sz="13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twork</a:t>
            </a:r>
            <a:endParaRPr lang="en-US" sz="1300" b="1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矩形 9"/>
          <p:cNvSpPr/>
          <p:nvPr/>
        </p:nvSpPr>
        <p:spPr bwMode="auto">
          <a:xfrm>
            <a:off x="8" y="3553125"/>
            <a:ext cx="4820764" cy="529760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121599" tIns="60797" rIns="121599" bIns="60797" numCol="1" rtlCol="0" anchor="b" anchorCtr="0" compatLnSpc="1">
            <a:prstTxWarp prst="textNoShape">
              <a:avLst/>
            </a:prstTxWarp>
          </a:bodyPr>
          <a:lstStyle/>
          <a:p>
            <a:pPr defTabSz="1215605" fontAlgn="base">
              <a:spcBef>
                <a:spcPct val="0"/>
              </a:spcBef>
              <a:spcAft>
                <a:spcPct val="0"/>
              </a:spcAft>
            </a:pPr>
            <a:endParaRPr lang="en-US" sz="27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1" name="Rectangle 535"/>
          <p:cNvSpPr/>
          <p:nvPr/>
        </p:nvSpPr>
        <p:spPr bwMode="auto">
          <a:xfrm>
            <a:off x="1142206" y="3733800"/>
            <a:ext cx="3631578" cy="290849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240156">
              <a:lnSpc>
                <a:spcPct val="90000"/>
              </a:lnSpc>
              <a:spcBef>
                <a:spcPts val="1599"/>
              </a:spcBef>
            </a:pP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òng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iều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hiển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ung</a:t>
            </a:r>
            <a:r>
              <a:rPr lang="en-US" sz="2100" b="1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100" b="1" spc="-40" dirty="0" err="1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âm</a:t>
            </a:r>
            <a:endParaRPr lang="en-US" sz="2100" b="1" spc="-40" dirty="0">
              <a:solidFill>
                <a:srgbClr val="FFFFFF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2" name="Rectangle 535"/>
          <p:cNvSpPr/>
          <p:nvPr/>
        </p:nvSpPr>
        <p:spPr bwMode="auto">
          <a:xfrm>
            <a:off x="2640933" y="2965805"/>
            <a:ext cx="1072104" cy="221599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240156">
              <a:lnSpc>
                <a:spcPct val="90000"/>
              </a:lnSpc>
              <a:spcBef>
                <a:spcPts val="1599"/>
              </a:spcBef>
            </a:pPr>
            <a:r>
              <a:rPr lang="en-US" sz="1600" spc="-4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SS-M</a:t>
            </a:r>
          </a:p>
        </p:txBody>
      </p:sp>
      <p:sp>
        <p:nvSpPr>
          <p:cNvPr id="53" name="Rectangle 535"/>
          <p:cNvSpPr/>
          <p:nvPr/>
        </p:nvSpPr>
        <p:spPr bwMode="auto">
          <a:xfrm>
            <a:off x="2005525" y="2198507"/>
            <a:ext cx="1072104" cy="221599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240156">
              <a:lnSpc>
                <a:spcPct val="90000"/>
              </a:lnSpc>
              <a:spcBef>
                <a:spcPts val="1599"/>
              </a:spcBef>
            </a:pPr>
            <a:r>
              <a:rPr lang="en-US" sz="1600" spc="-4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PSAN</a:t>
            </a:r>
          </a:p>
        </p:txBody>
      </p:sp>
      <p:sp>
        <p:nvSpPr>
          <p:cNvPr id="55" name="Freeform 32"/>
          <p:cNvSpPr>
            <a:spLocks noChangeAspect="1" noEditPoints="1"/>
          </p:cNvSpPr>
          <p:nvPr/>
        </p:nvSpPr>
        <p:spPr bwMode="auto">
          <a:xfrm>
            <a:off x="914281" y="2984171"/>
            <a:ext cx="493552" cy="563708"/>
          </a:xfrm>
          <a:custGeom>
            <a:avLst/>
            <a:gdLst>
              <a:gd name="T0" fmla="*/ 88 w 228"/>
              <a:gd name="T1" fmla="*/ 150 h 245"/>
              <a:gd name="T2" fmla="*/ 24 w 228"/>
              <a:gd name="T3" fmla="*/ 150 h 245"/>
              <a:gd name="T4" fmla="*/ 66 w 228"/>
              <a:gd name="T5" fmla="*/ 69 h 245"/>
              <a:gd name="T6" fmla="*/ 80 w 228"/>
              <a:gd name="T7" fmla="*/ 109 h 245"/>
              <a:gd name="T8" fmla="*/ 88 w 228"/>
              <a:gd name="T9" fmla="*/ 115 h 245"/>
              <a:gd name="T10" fmla="*/ 151 w 228"/>
              <a:gd name="T11" fmla="*/ 115 h 245"/>
              <a:gd name="T12" fmla="*/ 160 w 228"/>
              <a:gd name="T13" fmla="*/ 106 h 245"/>
              <a:gd name="T14" fmla="*/ 151 w 228"/>
              <a:gd name="T15" fmla="*/ 98 h 245"/>
              <a:gd name="T16" fmla="*/ 94 w 228"/>
              <a:gd name="T17" fmla="*/ 98 h 245"/>
              <a:gd name="T18" fmla="*/ 77 w 228"/>
              <a:gd name="T19" fmla="*/ 50 h 245"/>
              <a:gd name="T20" fmla="*/ 76 w 228"/>
              <a:gd name="T21" fmla="*/ 49 h 245"/>
              <a:gd name="T22" fmla="*/ 75 w 228"/>
              <a:gd name="T23" fmla="*/ 47 h 245"/>
              <a:gd name="T24" fmla="*/ 59 w 228"/>
              <a:gd name="T25" fmla="*/ 45 h 245"/>
              <a:gd name="T26" fmla="*/ 0 w 228"/>
              <a:gd name="T27" fmla="*/ 161 h 245"/>
              <a:gd name="T28" fmla="*/ 4 w 228"/>
              <a:gd name="T29" fmla="*/ 169 h 245"/>
              <a:gd name="T30" fmla="*/ 12 w 228"/>
              <a:gd name="T31" fmla="*/ 173 h 245"/>
              <a:gd name="T32" fmla="*/ 77 w 228"/>
              <a:gd name="T33" fmla="*/ 173 h 245"/>
              <a:gd name="T34" fmla="*/ 77 w 228"/>
              <a:gd name="T35" fmla="*/ 234 h 245"/>
              <a:gd name="T36" fmla="*/ 88 w 228"/>
              <a:gd name="T37" fmla="*/ 245 h 245"/>
              <a:gd name="T38" fmla="*/ 99 w 228"/>
              <a:gd name="T39" fmla="*/ 234 h 245"/>
              <a:gd name="T40" fmla="*/ 99 w 228"/>
              <a:gd name="T41" fmla="*/ 161 h 245"/>
              <a:gd name="T42" fmla="*/ 88 w 228"/>
              <a:gd name="T43" fmla="*/ 150 h 245"/>
              <a:gd name="T44" fmla="*/ 99 w 228"/>
              <a:gd name="T45" fmla="*/ 0 h 245"/>
              <a:gd name="T46" fmla="*/ 124 w 228"/>
              <a:gd name="T47" fmla="*/ 25 h 245"/>
              <a:gd name="T48" fmla="*/ 99 w 228"/>
              <a:gd name="T49" fmla="*/ 50 h 245"/>
              <a:gd name="T50" fmla="*/ 75 w 228"/>
              <a:gd name="T51" fmla="*/ 25 h 245"/>
              <a:gd name="T52" fmla="*/ 99 w 228"/>
              <a:gd name="T53" fmla="*/ 0 h 245"/>
              <a:gd name="T54" fmla="*/ 169 w 228"/>
              <a:gd name="T55" fmla="*/ 126 h 245"/>
              <a:gd name="T56" fmla="*/ 137 w 228"/>
              <a:gd name="T57" fmla="*/ 126 h 245"/>
              <a:gd name="T58" fmla="*/ 131 w 228"/>
              <a:gd name="T59" fmla="*/ 131 h 245"/>
              <a:gd name="T60" fmla="*/ 137 w 228"/>
              <a:gd name="T61" fmla="*/ 137 h 245"/>
              <a:gd name="T62" fmla="*/ 169 w 228"/>
              <a:gd name="T63" fmla="*/ 137 h 245"/>
              <a:gd name="T64" fmla="*/ 175 w 228"/>
              <a:gd name="T65" fmla="*/ 131 h 245"/>
              <a:gd name="T66" fmla="*/ 169 w 228"/>
              <a:gd name="T67" fmla="*/ 126 h 245"/>
              <a:gd name="T68" fmla="*/ 205 w 228"/>
              <a:gd name="T69" fmla="*/ 91 h 245"/>
              <a:gd name="T70" fmla="*/ 203 w 228"/>
              <a:gd name="T71" fmla="*/ 88 h 245"/>
              <a:gd name="T72" fmla="*/ 228 w 228"/>
              <a:gd name="T73" fmla="*/ 29 h 245"/>
              <a:gd name="T74" fmla="*/ 213 w 228"/>
              <a:gd name="T75" fmla="*/ 22 h 245"/>
              <a:gd name="T76" fmla="*/ 175 w 228"/>
              <a:gd name="T77" fmla="*/ 109 h 245"/>
              <a:gd name="T78" fmla="*/ 191 w 228"/>
              <a:gd name="T79" fmla="*/ 115 h 245"/>
              <a:gd name="T80" fmla="*/ 197 w 228"/>
              <a:gd name="T81" fmla="*/ 101 h 245"/>
              <a:gd name="T82" fmla="*/ 209 w 228"/>
              <a:gd name="T83" fmla="*/ 126 h 245"/>
              <a:gd name="T84" fmla="*/ 192 w 228"/>
              <a:gd name="T85" fmla="*/ 126 h 245"/>
              <a:gd name="T86" fmla="*/ 186 w 228"/>
              <a:gd name="T87" fmla="*/ 131 h 245"/>
              <a:gd name="T88" fmla="*/ 192 w 228"/>
              <a:gd name="T89" fmla="*/ 137 h 245"/>
              <a:gd name="T90" fmla="*/ 218 w 228"/>
              <a:gd name="T91" fmla="*/ 137 h 245"/>
              <a:gd name="T92" fmla="*/ 223 w 228"/>
              <a:gd name="T93" fmla="*/ 135 h 245"/>
              <a:gd name="T94" fmla="*/ 223 w 228"/>
              <a:gd name="T95" fmla="*/ 129 h 245"/>
              <a:gd name="T96" fmla="*/ 205 w 228"/>
              <a:gd name="T97" fmla="*/ 91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28" h="245">
                <a:moveTo>
                  <a:pt x="88" y="150"/>
                </a:moveTo>
                <a:cubicBezTo>
                  <a:pt x="24" y="150"/>
                  <a:pt x="24" y="150"/>
                  <a:pt x="24" y="150"/>
                </a:cubicBezTo>
                <a:cubicBezTo>
                  <a:pt x="27" y="133"/>
                  <a:pt x="36" y="98"/>
                  <a:pt x="66" y="69"/>
                </a:cubicBezTo>
                <a:cubicBezTo>
                  <a:pt x="80" y="109"/>
                  <a:pt x="80" y="109"/>
                  <a:pt x="80" y="109"/>
                </a:cubicBezTo>
                <a:cubicBezTo>
                  <a:pt x="81" y="112"/>
                  <a:pt x="84" y="115"/>
                  <a:pt x="88" y="115"/>
                </a:cubicBezTo>
                <a:cubicBezTo>
                  <a:pt x="151" y="115"/>
                  <a:pt x="151" y="115"/>
                  <a:pt x="151" y="115"/>
                </a:cubicBezTo>
                <a:cubicBezTo>
                  <a:pt x="156" y="115"/>
                  <a:pt x="160" y="111"/>
                  <a:pt x="160" y="106"/>
                </a:cubicBezTo>
                <a:cubicBezTo>
                  <a:pt x="160" y="101"/>
                  <a:pt x="156" y="98"/>
                  <a:pt x="151" y="98"/>
                </a:cubicBezTo>
                <a:cubicBezTo>
                  <a:pt x="94" y="98"/>
                  <a:pt x="94" y="98"/>
                  <a:pt x="94" y="98"/>
                </a:cubicBezTo>
                <a:cubicBezTo>
                  <a:pt x="77" y="50"/>
                  <a:pt x="77" y="50"/>
                  <a:pt x="77" y="50"/>
                </a:cubicBezTo>
                <a:cubicBezTo>
                  <a:pt x="77" y="50"/>
                  <a:pt x="77" y="49"/>
                  <a:pt x="76" y="49"/>
                </a:cubicBezTo>
                <a:cubicBezTo>
                  <a:pt x="76" y="48"/>
                  <a:pt x="76" y="47"/>
                  <a:pt x="75" y="47"/>
                </a:cubicBezTo>
                <a:cubicBezTo>
                  <a:pt x="71" y="42"/>
                  <a:pt x="64" y="41"/>
                  <a:pt x="59" y="45"/>
                </a:cubicBezTo>
                <a:cubicBezTo>
                  <a:pt x="2" y="93"/>
                  <a:pt x="0" y="159"/>
                  <a:pt x="0" y="161"/>
                </a:cubicBezTo>
                <a:cubicBezTo>
                  <a:pt x="0" y="164"/>
                  <a:pt x="1" y="167"/>
                  <a:pt x="4" y="169"/>
                </a:cubicBezTo>
                <a:cubicBezTo>
                  <a:pt x="6" y="172"/>
                  <a:pt x="9" y="173"/>
                  <a:pt x="12" y="173"/>
                </a:cubicBezTo>
                <a:cubicBezTo>
                  <a:pt x="77" y="173"/>
                  <a:pt x="77" y="173"/>
                  <a:pt x="77" y="173"/>
                </a:cubicBezTo>
                <a:cubicBezTo>
                  <a:pt x="77" y="234"/>
                  <a:pt x="77" y="234"/>
                  <a:pt x="77" y="234"/>
                </a:cubicBezTo>
                <a:cubicBezTo>
                  <a:pt x="77" y="240"/>
                  <a:pt x="82" y="245"/>
                  <a:pt x="88" y="245"/>
                </a:cubicBezTo>
                <a:cubicBezTo>
                  <a:pt x="94" y="245"/>
                  <a:pt x="99" y="240"/>
                  <a:pt x="99" y="234"/>
                </a:cubicBezTo>
                <a:cubicBezTo>
                  <a:pt x="99" y="161"/>
                  <a:pt x="99" y="161"/>
                  <a:pt x="99" y="161"/>
                </a:cubicBezTo>
                <a:cubicBezTo>
                  <a:pt x="99" y="155"/>
                  <a:pt x="94" y="150"/>
                  <a:pt x="88" y="150"/>
                </a:cubicBezTo>
                <a:close/>
                <a:moveTo>
                  <a:pt x="99" y="0"/>
                </a:moveTo>
                <a:cubicBezTo>
                  <a:pt x="113" y="0"/>
                  <a:pt x="124" y="12"/>
                  <a:pt x="124" y="25"/>
                </a:cubicBezTo>
                <a:cubicBezTo>
                  <a:pt x="124" y="39"/>
                  <a:pt x="113" y="50"/>
                  <a:pt x="99" y="50"/>
                </a:cubicBezTo>
                <a:cubicBezTo>
                  <a:pt x="86" y="50"/>
                  <a:pt x="75" y="39"/>
                  <a:pt x="75" y="25"/>
                </a:cubicBezTo>
                <a:cubicBezTo>
                  <a:pt x="75" y="12"/>
                  <a:pt x="86" y="0"/>
                  <a:pt x="99" y="0"/>
                </a:cubicBezTo>
                <a:close/>
                <a:moveTo>
                  <a:pt x="169" y="126"/>
                </a:moveTo>
                <a:cubicBezTo>
                  <a:pt x="137" y="126"/>
                  <a:pt x="137" y="126"/>
                  <a:pt x="137" y="126"/>
                </a:cubicBezTo>
                <a:cubicBezTo>
                  <a:pt x="134" y="126"/>
                  <a:pt x="131" y="128"/>
                  <a:pt x="131" y="131"/>
                </a:cubicBezTo>
                <a:cubicBezTo>
                  <a:pt x="131" y="135"/>
                  <a:pt x="134" y="137"/>
                  <a:pt x="137" y="137"/>
                </a:cubicBezTo>
                <a:cubicBezTo>
                  <a:pt x="169" y="137"/>
                  <a:pt x="169" y="137"/>
                  <a:pt x="169" y="137"/>
                </a:cubicBezTo>
                <a:cubicBezTo>
                  <a:pt x="172" y="137"/>
                  <a:pt x="175" y="135"/>
                  <a:pt x="175" y="131"/>
                </a:cubicBezTo>
                <a:cubicBezTo>
                  <a:pt x="175" y="128"/>
                  <a:pt x="172" y="126"/>
                  <a:pt x="169" y="126"/>
                </a:cubicBezTo>
                <a:close/>
                <a:moveTo>
                  <a:pt x="205" y="91"/>
                </a:moveTo>
                <a:cubicBezTo>
                  <a:pt x="204" y="90"/>
                  <a:pt x="204" y="89"/>
                  <a:pt x="203" y="88"/>
                </a:cubicBezTo>
                <a:cubicBezTo>
                  <a:pt x="228" y="29"/>
                  <a:pt x="228" y="29"/>
                  <a:pt x="228" y="29"/>
                </a:cubicBezTo>
                <a:cubicBezTo>
                  <a:pt x="213" y="22"/>
                  <a:pt x="213" y="22"/>
                  <a:pt x="213" y="22"/>
                </a:cubicBezTo>
                <a:cubicBezTo>
                  <a:pt x="175" y="109"/>
                  <a:pt x="175" y="109"/>
                  <a:pt x="175" y="109"/>
                </a:cubicBezTo>
                <a:cubicBezTo>
                  <a:pt x="191" y="115"/>
                  <a:pt x="191" y="115"/>
                  <a:pt x="191" y="115"/>
                </a:cubicBezTo>
                <a:cubicBezTo>
                  <a:pt x="197" y="101"/>
                  <a:pt x="197" y="101"/>
                  <a:pt x="197" y="101"/>
                </a:cubicBezTo>
                <a:cubicBezTo>
                  <a:pt x="209" y="126"/>
                  <a:pt x="209" y="126"/>
                  <a:pt x="209" y="126"/>
                </a:cubicBezTo>
                <a:cubicBezTo>
                  <a:pt x="192" y="126"/>
                  <a:pt x="192" y="126"/>
                  <a:pt x="192" y="126"/>
                </a:cubicBezTo>
                <a:cubicBezTo>
                  <a:pt x="189" y="126"/>
                  <a:pt x="186" y="128"/>
                  <a:pt x="186" y="131"/>
                </a:cubicBezTo>
                <a:cubicBezTo>
                  <a:pt x="186" y="135"/>
                  <a:pt x="189" y="137"/>
                  <a:pt x="192" y="137"/>
                </a:cubicBezTo>
                <a:cubicBezTo>
                  <a:pt x="218" y="137"/>
                  <a:pt x="218" y="137"/>
                  <a:pt x="218" y="137"/>
                </a:cubicBezTo>
                <a:cubicBezTo>
                  <a:pt x="220" y="137"/>
                  <a:pt x="222" y="136"/>
                  <a:pt x="223" y="135"/>
                </a:cubicBezTo>
                <a:cubicBezTo>
                  <a:pt x="224" y="133"/>
                  <a:pt x="224" y="131"/>
                  <a:pt x="223" y="129"/>
                </a:cubicBezTo>
                <a:lnTo>
                  <a:pt x="205" y="9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93049" tIns="46534" rIns="93049" bIns="46534" numCol="1" anchor="t" anchorCtr="0" compatLnSpc="1">
            <a:prstTxWarp prst="textNoShape">
              <a:avLst/>
            </a:prstTxWarp>
          </a:bodyPr>
          <a:lstStyle/>
          <a:p>
            <a:pPr defTabSz="1240395">
              <a:defRPr/>
            </a:pPr>
            <a:endParaRPr lang="en-US" sz="2100" kern="0" dirty="0">
              <a:solidFill>
                <a:srgbClr val="FFFFFF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56" name="Straight Connector 70"/>
          <p:cNvCxnSpPr/>
          <p:nvPr/>
        </p:nvCxnSpPr>
        <p:spPr>
          <a:xfrm>
            <a:off x="1422224" y="3282978"/>
            <a:ext cx="665631" cy="6025"/>
          </a:xfrm>
          <a:prstGeom prst="line">
            <a:avLst/>
          </a:prstGeom>
          <a:noFill/>
          <a:ln w="19050" cap="rnd" cmpd="sng" algn="ctr">
            <a:solidFill>
              <a:srgbClr val="FFFFFF"/>
            </a:solidFill>
            <a:prstDash val="sysDot"/>
            <a:headEnd type="arrow" w="med" len="med"/>
            <a:tailEnd type="none" w="med" len="med"/>
          </a:ln>
          <a:effectLst/>
        </p:spPr>
      </p:cxnSp>
      <p:sp>
        <p:nvSpPr>
          <p:cNvPr id="13" name="矩形 12"/>
          <p:cNvSpPr/>
          <p:nvPr/>
        </p:nvSpPr>
        <p:spPr bwMode="auto">
          <a:xfrm>
            <a:off x="31" y="3390583"/>
            <a:ext cx="1040975" cy="176191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121599" tIns="60797" rIns="121599" bIns="60797" numCol="1" rtlCol="0" anchor="b" anchorCtr="0" compatLnSpc="1">
            <a:prstTxWarp prst="textNoShape">
              <a:avLst/>
            </a:prstTxWarp>
          </a:bodyPr>
          <a:lstStyle/>
          <a:p>
            <a:pPr defTabSz="1215605" fontAlgn="base">
              <a:spcBef>
                <a:spcPct val="0"/>
              </a:spcBef>
              <a:spcAft>
                <a:spcPct val="0"/>
              </a:spcAft>
            </a:pPr>
            <a:endParaRPr lang="en-US" sz="27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8" name="Picture 2" descr="\\MAGNUM\Projects\Microsoft\Cloud Power FY12\Design\Icons\PNGs\Cloud_on_your_terms.png"/>
          <p:cNvPicPr>
            <a:picLocks noChangeAspect="1" noChangeArrowheads="1"/>
          </p:cNvPicPr>
          <p:nvPr/>
        </p:nvPicPr>
        <p:blipFill>
          <a:blip r:embed="rId10" cstate="print">
            <a:lum bright="100000"/>
          </a:blip>
          <a:stretch>
            <a:fillRect/>
          </a:stretch>
        </p:blipFill>
        <p:spPr bwMode="auto">
          <a:xfrm>
            <a:off x="177877" y="3310444"/>
            <a:ext cx="843943" cy="84371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8" name="组合 17"/>
          <p:cNvGrpSpPr/>
          <p:nvPr/>
        </p:nvGrpSpPr>
        <p:grpSpPr>
          <a:xfrm>
            <a:off x="9939232" y="2563568"/>
            <a:ext cx="671281" cy="1537941"/>
            <a:chOff x="6278275" y="1556532"/>
            <a:chExt cx="503526" cy="1153456"/>
          </a:xfrm>
        </p:grpSpPr>
        <p:sp>
          <p:nvSpPr>
            <p:cNvPr id="16" name="矩形 15"/>
            <p:cNvSpPr/>
            <p:nvPr/>
          </p:nvSpPr>
          <p:spPr bwMode="auto">
            <a:xfrm>
              <a:off x="6507480" y="1762045"/>
              <a:ext cx="45719" cy="947943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137172" tIns="34294" rIns="68586" bIns="68586" rtlCol="0" anchor="b" anchorCtr="0"/>
            <a:lstStyle/>
            <a:p>
              <a:pPr algn="ctr" defTabSz="912119" fontAlgn="base">
                <a:spcBef>
                  <a:spcPct val="0"/>
                </a:spcBef>
                <a:spcAft>
                  <a:spcPct val="0"/>
                </a:spcAft>
              </a:pPr>
              <a:endParaRPr lang="en-US" sz="1600" spc="-5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7" name="圆角矩形 16"/>
            <p:cNvSpPr/>
            <p:nvPr/>
          </p:nvSpPr>
          <p:spPr bwMode="auto">
            <a:xfrm>
              <a:off x="6278275" y="1556532"/>
              <a:ext cx="503526" cy="253218"/>
            </a:xfrm>
            <a:prstGeom prst="roundRect">
              <a:avLst/>
            </a:prstGeom>
            <a:solidFill>
              <a:srgbClr val="92D050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137172" tIns="34294" rIns="68586" bIns="68586" rtlCol="0" anchor="b" anchorCtr="0"/>
            <a:lstStyle/>
            <a:p>
              <a:pPr algn="ctr" defTabSz="912119" fontAlgn="base">
                <a:spcBef>
                  <a:spcPct val="0"/>
                </a:spcBef>
                <a:spcAft>
                  <a:spcPct val="0"/>
                </a:spcAft>
              </a:pPr>
              <a:endParaRPr lang="en-US" sz="1600" spc="-5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pic>
          <p:nvPicPr>
            <p:cNvPr id="14" name="图片 13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278277" y="1569488"/>
              <a:ext cx="491312" cy="240262"/>
            </a:xfrm>
            <a:prstGeom prst="rect">
              <a:avLst/>
            </a:prstGeom>
          </p:spPr>
        </p:pic>
      </p:grpSp>
      <p:pic>
        <p:nvPicPr>
          <p:cNvPr id="35" name="图片 3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40031" y="3492177"/>
            <a:ext cx="1455870" cy="638883"/>
          </a:xfrm>
          <a:prstGeom prst="rect">
            <a:avLst/>
          </a:prstGeom>
        </p:spPr>
      </p:pic>
      <p:sp>
        <p:nvSpPr>
          <p:cNvPr id="54" name="椭圆 53"/>
          <p:cNvSpPr/>
          <p:nvPr/>
        </p:nvSpPr>
        <p:spPr>
          <a:xfrm>
            <a:off x="8026814" y="1934223"/>
            <a:ext cx="1229127" cy="1115857"/>
          </a:xfrm>
          <a:prstGeom prst="ellipse">
            <a:avLst/>
          </a:prstGeom>
          <a:solidFill>
            <a:srgbClr val="FFC000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0" tIns="45658" rIns="91310" bIns="45658" rtlCol="0" anchor="ctr"/>
          <a:lstStyle/>
          <a:p>
            <a:pPr algn="ctr"/>
            <a:endParaRPr lang="zh-CN" altLang="en-US" sz="2400">
              <a:latin typeface="Tahoma" pitchFamily="34" charset="0"/>
              <a:cs typeface="Tahoma" pitchFamily="34" charset="0"/>
            </a:endParaRPr>
          </a:p>
        </p:txBody>
      </p:sp>
      <p:sp>
        <p:nvSpPr>
          <p:cNvPr id="57" name="文本框 20"/>
          <p:cNvSpPr txBox="1"/>
          <p:nvPr/>
        </p:nvSpPr>
        <p:spPr>
          <a:xfrm>
            <a:off x="8127362" y="1951392"/>
            <a:ext cx="596054" cy="1123292"/>
          </a:xfrm>
          <a:prstGeom prst="rect">
            <a:avLst/>
          </a:prstGeom>
          <a:noFill/>
        </p:spPr>
        <p:txBody>
          <a:bodyPr wrap="square" lIns="91310" tIns="45658" rIns="91310" bIns="45658" rtlCol="0">
            <a:spAutoFit/>
          </a:bodyPr>
          <a:lstStyle/>
          <a:p>
            <a:r>
              <a:rPr lang="zh-CN" altLang="en-US" sz="6700" b="1" dirty="0" smtClean="0">
                <a:solidFill>
                  <a:schemeClr val="bg1"/>
                </a:solidFill>
                <a:latin typeface="Tahoma" pitchFamily="34" charset="0"/>
                <a:ea typeface="微软雅黑" panose="020B0503020204020204" pitchFamily="34" charset="-122"/>
                <a:cs typeface="Tahoma" pitchFamily="34" charset="0"/>
              </a:rPr>
              <a:t>１</a:t>
            </a:r>
            <a:endParaRPr lang="zh-CN" altLang="en-US" sz="6700" b="1" dirty="0">
              <a:solidFill>
                <a:schemeClr val="bg1"/>
              </a:solidFill>
              <a:latin typeface="Tahoma" pitchFamily="34" charset="0"/>
              <a:ea typeface="微软雅黑" panose="020B0503020204020204" pitchFamily="34" charset="-122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4733624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6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4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4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4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 tmFilter="0, 0; .2, .5; .8, .5; 1, 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250" autoRev="1" fill="hold"/>
                                        <p:tgtEl>
                                          <p:spTgt spid="4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9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400"/>
                            </p:stCondLst>
                            <p:childTnLst>
                              <p:par>
                                <p:cTn id="29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39 -0.00031 L -0.04202 -0.05802 C -0.05104 -0.06821 -0.06476 -0.07839 -0.07986 -0.08426 C -0.09688 -0.09043 -0.11077 -0.09074 -0.1217 -0.08611 L -0.1717 -0.06481 " pathEditMode="relative" rAng="11520000" ptsTypes="AAAAA">
                                      <p:cBhvr>
                                        <p:cTn id="30" dur="2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194" y="-580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400"/>
                            </p:stCondLst>
                            <p:childTnLst>
                              <p:par>
                                <p:cTn id="32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7066 -0.06543 L -0.47292 -0.0679 " pathEditMode="relative" rAng="0" ptsTypes="AA">
                                      <p:cBhvr>
                                        <p:cTn id="33" dur="2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122" y="-1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7400"/>
                            </p:stCondLst>
                            <p:childTnLst>
                              <p:par>
                                <p:cTn id="35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47292 -0.0679 L -0.47344 -0.1929 " pathEditMode="relative" rAng="0" ptsTypes="AA">
                                      <p:cBhvr>
                                        <p:cTn id="36" dur="2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" y="-626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9400"/>
                            </p:stCondLst>
                            <p:childTnLst>
                              <p:par>
                                <p:cTn id="38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47344 -0.1929 L -0.57795 -0.20092 " pathEditMode="relative" rAng="0" ptsTypes="AA">
                                      <p:cBhvr>
                                        <p:cTn id="39" dur="2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26" y="-4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1400"/>
                            </p:stCondLst>
                            <p:childTnLst>
                              <p:par>
                                <p:cTn id="4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  <p:bldP spid="65" grpId="1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 bwMode="auto">
          <a:xfrm>
            <a:off x="7679382" y="1964064"/>
            <a:ext cx="4511039" cy="3193128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45" tIns="60875" rIns="121745" bIns="60875" rtlCol="0" anchor="ctr"/>
          <a:lstStyle/>
          <a:p>
            <a:pPr algn="ctr" defTabSz="1217433"/>
            <a:endParaRPr lang="en-US" sz="4300" dirty="0">
              <a:solidFill>
                <a:prstClr val="white"/>
              </a:solidFill>
              <a:latin typeface="Segoe UI Light" pitchFamily="3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0" y="188652"/>
            <a:ext cx="8228806" cy="584604"/>
          </a:xfrm>
          <a:prstGeom prst="rect">
            <a:avLst/>
          </a:prstGeom>
          <a:noFill/>
        </p:spPr>
        <p:txBody>
          <a:bodyPr wrap="square" lIns="121745" tIns="60875" rIns="121745" bIns="60875" rtlCol="0">
            <a:spAutoFit/>
          </a:bodyPr>
          <a:lstStyle/>
          <a:p>
            <a:pPr defTabSz="1217433"/>
            <a:r>
              <a:rPr lang="en-US" altLang="zh-CN" sz="30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IỂN THỊ VỊ TRÍ PHƯƠNG TIỆN QUA GPS</a:t>
            </a:r>
            <a:endParaRPr lang="en-US" altLang="zh-CN" sz="3000" b="1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9" name="Rectangle 535"/>
          <p:cNvSpPr/>
          <p:nvPr/>
        </p:nvSpPr>
        <p:spPr bwMode="auto">
          <a:xfrm>
            <a:off x="717060" y="5784486"/>
            <a:ext cx="10965431" cy="969496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just" defTabSz="1217433"/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ất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ả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ác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ương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iện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à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ác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ạn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ó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ẽ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ược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ể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iện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ên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ản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ồ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ị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í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(GPS),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ốc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ộ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ông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tin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ảnh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áo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(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ốc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ộ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quá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hanh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quá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hậm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xe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hở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quá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ải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…)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ược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ửi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ề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à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iển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ị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ên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iao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iện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ủa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ần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ềm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quản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ý</a:t>
            </a:r>
            <a:r>
              <a:rPr lang="en-US" altLang="zh-CN" sz="21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990625"/>
            <a:ext cx="7923768" cy="4453625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 bwMode="auto">
          <a:xfrm>
            <a:off x="4368231" y="2226652"/>
            <a:ext cx="1015868" cy="795965"/>
          </a:xfrm>
          <a:prstGeom prst="rect">
            <a:avLst/>
          </a:prstGeom>
          <a:solidFill>
            <a:schemeClr val="bg1">
              <a:alpha val="54000"/>
            </a:schemeClr>
          </a:solidFill>
          <a:ln w="9525">
            <a:solidFill>
              <a:srgbClr val="00B050"/>
            </a:solidFill>
            <a:miter lim="800000"/>
            <a:headEnd/>
            <a:tailEnd/>
          </a:ln>
        </p:spPr>
        <p:txBody>
          <a:bodyPr wrap="square" lIns="182634" tIns="45662" rIns="91322" bIns="91322" rtlCol="0" anchor="b" anchorCtr="0"/>
          <a:lstStyle/>
          <a:p>
            <a:pPr algn="ctr" defTabSz="912855" fontAlgn="base">
              <a:spcBef>
                <a:spcPct val="0"/>
              </a:spcBef>
              <a:spcAft>
                <a:spcPct val="0"/>
              </a:spcAft>
            </a:pPr>
            <a:endParaRPr lang="en-US" sz="1600" spc="-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微软雅黑" pitchFamily="34" charset="-122"/>
              <a:cs typeface="Segoe UI" pitchFamily="34" charset="0"/>
            </a:endParaRPr>
          </a:p>
        </p:txBody>
      </p:sp>
      <p:grpSp>
        <p:nvGrpSpPr>
          <p:cNvPr id="16" name="组合 15"/>
          <p:cNvGrpSpPr/>
          <p:nvPr/>
        </p:nvGrpSpPr>
        <p:grpSpPr>
          <a:xfrm>
            <a:off x="5282517" y="2922693"/>
            <a:ext cx="203174" cy="243840"/>
            <a:chOff x="4495800" y="-933450"/>
            <a:chExt cx="152400" cy="182880"/>
          </a:xfrm>
        </p:grpSpPr>
        <p:cxnSp>
          <p:nvCxnSpPr>
            <p:cNvPr id="10" name="直接连接符 9"/>
            <p:cNvCxnSpPr/>
            <p:nvPr/>
          </p:nvCxnSpPr>
          <p:spPr>
            <a:xfrm>
              <a:off x="4572000" y="-933450"/>
              <a:ext cx="0" cy="182880"/>
            </a:xfrm>
            <a:prstGeom prst="line">
              <a:avLst/>
            </a:prstGeom>
            <a:ln w="19050">
              <a:solidFill>
                <a:srgbClr val="E600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/>
            <p:cNvCxnSpPr/>
            <p:nvPr/>
          </p:nvCxnSpPr>
          <p:spPr>
            <a:xfrm>
              <a:off x="4495800" y="-857250"/>
              <a:ext cx="152400" cy="0"/>
            </a:xfrm>
            <a:prstGeom prst="line">
              <a:avLst/>
            </a:prstGeom>
            <a:ln w="19050">
              <a:solidFill>
                <a:srgbClr val="E600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椭圆 16"/>
          <p:cNvSpPr/>
          <p:nvPr/>
        </p:nvSpPr>
        <p:spPr>
          <a:xfrm>
            <a:off x="8457406" y="152400"/>
            <a:ext cx="1229127" cy="1115857"/>
          </a:xfrm>
          <a:prstGeom prst="ellipse">
            <a:avLst/>
          </a:prstGeom>
          <a:solidFill>
            <a:srgbClr val="FFC000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0" tIns="45658" rIns="91310" bIns="45658" rtlCol="0" anchor="ctr"/>
          <a:lstStyle/>
          <a:p>
            <a:pPr algn="ctr"/>
            <a:endParaRPr lang="zh-CN" altLang="en-US" sz="2400"/>
          </a:p>
        </p:txBody>
      </p:sp>
      <p:sp>
        <p:nvSpPr>
          <p:cNvPr id="18" name="文本框 20"/>
          <p:cNvSpPr txBox="1"/>
          <p:nvPr/>
        </p:nvSpPr>
        <p:spPr>
          <a:xfrm>
            <a:off x="8533606" y="152400"/>
            <a:ext cx="596054" cy="1123259"/>
          </a:xfrm>
          <a:prstGeom prst="rect">
            <a:avLst/>
          </a:prstGeom>
          <a:noFill/>
        </p:spPr>
        <p:txBody>
          <a:bodyPr wrap="square" lIns="91310" tIns="45658" rIns="91310" bIns="45658" rtlCol="0">
            <a:spAutoFit/>
          </a:bodyPr>
          <a:lstStyle/>
          <a:p>
            <a:r>
              <a:rPr lang="zh-CN" altLang="en-US" sz="67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２</a:t>
            </a:r>
            <a:endParaRPr lang="zh-CN" altLang="en-US" sz="67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7751390" y="2082984"/>
            <a:ext cx="4320480" cy="2957488"/>
            <a:chOff x="717060" y="382619"/>
            <a:chExt cx="5913683" cy="3550438"/>
          </a:xfrm>
        </p:grpSpPr>
        <p:pic>
          <p:nvPicPr>
            <p:cNvPr id="14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18944" y="2177248"/>
              <a:ext cx="2911799" cy="1755809"/>
            </a:xfrm>
            <a:prstGeom prst="rect">
              <a:avLst/>
            </a:prstGeom>
            <a:ln w="9525">
              <a:solidFill>
                <a:srgbClr val="FFFF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5" name="Picture 3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auto">
            <a:xfrm>
              <a:off x="725062" y="382619"/>
              <a:ext cx="2993882" cy="1794171"/>
            </a:xfrm>
            <a:prstGeom prst="rect">
              <a:avLst/>
            </a:prstGeom>
            <a:noFill/>
            <a:ln w="9525">
              <a:solidFill>
                <a:srgbClr val="FFFF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" name="Picture 4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7416"/>
            <a:stretch/>
          </p:blipFill>
          <p:spPr bwMode="auto">
            <a:xfrm>
              <a:off x="3746240" y="383077"/>
              <a:ext cx="2884503" cy="1794171"/>
            </a:xfrm>
            <a:prstGeom prst="rect">
              <a:avLst/>
            </a:prstGeom>
            <a:noFill/>
            <a:ln w="9525">
              <a:solidFill>
                <a:srgbClr val="FFFF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" name="Picture 5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r="9173"/>
            <a:stretch/>
          </p:blipFill>
          <p:spPr bwMode="auto">
            <a:xfrm>
              <a:off x="717060" y="2198151"/>
              <a:ext cx="3001884" cy="1734906"/>
            </a:xfrm>
            <a:prstGeom prst="rect">
              <a:avLst/>
            </a:prstGeom>
            <a:noFill/>
            <a:ln w="9525">
              <a:solidFill>
                <a:srgbClr val="FFFF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167098562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2" y="14820"/>
            <a:ext cx="12190413" cy="6858000"/>
          </a:xfrm>
          <a:prstGeom prst="rect">
            <a:avLst/>
          </a:prstGeom>
        </p:spPr>
      </p:pic>
      <p:sp>
        <p:nvSpPr>
          <p:cNvPr id="17" name="矩形 16"/>
          <p:cNvSpPr/>
          <p:nvPr/>
        </p:nvSpPr>
        <p:spPr bwMode="auto">
          <a:xfrm>
            <a:off x="0" y="561009"/>
            <a:ext cx="12197116" cy="74806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45" tIns="60875" rIns="121745" bIns="60875" rtlCol="0" anchor="ctr"/>
          <a:lstStyle/>
          <a:p>
            <a:pPr algn="ctr" defTabSz="1217433"/>
            <a:endParaRPr lang="en-US" sz="4300" dirty="0">
              <a:solidFill>
                <a:prstClr val="white"/>
              </a:solidFill>
              <a:latin typeface="Segoe UI Light" pitchFamily="3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464760" y="591949"/>
            <a:ext cx="7221246" cy="615381"/>
          </a:xfrm>
          <a:prstGeom prst="rect">
            <a:avLst/>
          </a:prstGeom>
          <a:noFill/>
        </p:spPr>
        <p:txBody>
          <a:bodyPr wrap="square" lIns="121745" tIns="60875" rIns="121745" bIns="60875" rtlCol="0">
            <a:spAutoFit/>
          </a:bodyPr>
          <a:lstStyle/>
          <a:p>
            <a:pPr defTabSz="1217433"/>
            <a:r>
              <a:rPr lang="en-US" altLang="zh-CN" sz="32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Ệ THỐNG CẢM BIẾN G-SENSOR</a:t>
            </a:r>
            <a:endParaRPr lang="en-US" sz="3200" b="1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1" name="矩形 20"/>
          <p:cNvSpPr/>
          <p:nvPr/>
        </p:nvSpPr>
        <p:spPr bwMode="auto">
          <a:xfrm>
            <a:off x="6461928" y="3327413"/>
            <a:ext cx="5728497" cy="169393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45" tIns="60875" rIns="121745" bIns="60875" rtlCol="0" anchor="ctr"/>
          <a:lstStyle/>
          <a:p>
            <a:pPr algn="ctr" defTabSz="1217433"/>
            <a:endParaRPr lang="en-US" sz="4300" dirty="0">
              <a:solidFill>
                <a:prstClr val="white"/>
              </a:solidFill>
              <a:latin typeface="Segoe UI Light" pitchFamily="34" charset="0"/>
            </a:endParaRPr>
          </a:p>
        </p:txBody>
      </p:sp>
      <p:sp>
        <p:nvSpPr>
          <p:cNvPr id="9" name="Rectangle 535"/>
          <p:cNvSpPr/>
          <p:nvPr/>
        </p:nvSpPr>
        <p:spPr bwMode="auto">
          <a:xfrm>
            <a:off x="6643141" y="3454785"/>
            <a:ext cx="5248281" cy="138499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just" defTabSz="1217433"/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hip G-sensor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ược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ắn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ới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ầu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hi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i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ộng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DVR.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DVR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ẽ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huyển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ác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ín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iệu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ảnh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áo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ới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ền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ảng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à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ủa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gười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ử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ụng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hi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ương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iện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ừng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ột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gột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ất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ăng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ằng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hay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xảy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a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a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hạm</a:t>
            </a:r>
            <a:r>
              <a:rPr lang="en-US" altLang="zh-CN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…</a:t>
            </a:r>
          </a:p>
        </p:txBody>
      </p:sp>
      <p:sp>
        <p:nvSpPr>
          <p:cNvPr id="28" name="椭圆 27"/>
          <p:cNvSpPr/>
          <p:nvPr/>
        </p:nvSpPr>
        <p:spPr bwMode="auto">
          <a:xfrm>
            <a:off x="5866095" y="2371557"/>
            <a:ext cx="731425" cy="731520"/>
          </a:xfrm>
          <a:prstGeom prst="ellipse">
            <a:avLst/>
          </a:prstGeom>
          <a:solidFill>
            <a:schemeClr val="accent6">
              <a:lumMod val="75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45" tIns="60875" rIns="121745" bIns="60875" rtlCol="0" anchor="ctr"/>
          <a:lstStyle/>
          <a:p>
            <a:pPr algn="ctr" defTabSz="1217433"/>
            <a:endParaRPr lang="en-US" sz="4300" dirty="0">
              <a:solidFill>
                <a:prstClr val="white"/>
              </a:solidFill>
              <a:latin typeface="Segoe UI Light" pitchFamily="34" charset="0"/>
            </a:endParaRPr>
          </a:p>
        </p:txBody>
      </p:sp>
      <p:cxnSp>
        <p:nvCxnSpPr>
          <p:cNvPr id="30" name="直接连接符 29"/>
          <p:cNvCxnSpPr>
            <a:stCxn id="28" idx="0"/>
          </p:cNvCxnSpPr>
          <p:nvPr/>
        </p:nvCxnSpPr>
        <p:spPr>
          <a:xfrm flipH="1" flipV="1">
            <a:off x="5453495" y="1581558"/>
            <a:ext cx="778315" cy="7900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泪滴形 31"/>
          <p:cNvSpPr/>
          <p:nvPr/>
        </p:nvSpPr>
        <p:spPr bwMode="auto">
          <a:xfrm rot="2667503">
            <a:off x="2763744" y="1440757"/>
            <a:ext cx="2565381" cy="2873265"/>
          </a:xfrm>
          <a:prstGeom prst="teardrop">
            <a:avLst/>
          </a:prstGeom>
          <a:solidFill>
            <a:schemeClr val="accent6">
              <a:lumMod val="75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45" tIns="60875" rIns="121745" bIns="60875" rtlCol="0" anchor="ctr"/>
          <a:lstStyle/>
          <a:p>
            <a:pPr algn="ctr" defTabSz="1217433"/>
            <a:endParaRPr lang="zh-CN" altLang="en-US" sz="4300" dirty="0">
              <a:solidFill>
                <a:prstClr val="white"/>
              </a:solidFill>
              <a:latin typeface="Segoe UI Light" pitchFamily="34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54938" y="1480005"/>
            <a:ext cx="4629173" cy="2866603"/>
          </a:xfrm>
          <a:prstGeom prst="rect">
            <a:avLst/>
          </a:prstGeom>
          <a:ln w="25400">
            <a:solidFill>
              <a:srgbClr val="FFFF00"/>
            </a:solidFill>
          </a:ln>
        </p:spPr>
      </p:pic>
      <p:sp>
        <p:nvSpPr>
          <p:cNvPr id="20" name="矩形 19"/>
          <p:cNvSpPr/>
          <p:nvPr/>
        </p:nvSpPr>
        <p:spPr bwMode="auto">
          <a:xfrm>
            <a:off x="4248098" y="5562603"/>
            <a:ext cx="1237588" cy="648612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45" tIns="60875" rIns="121745" bIns="60875" rtlCol="0" anchor="ctr"/>
          <a:lstStyle/>
          <a:p>
            <a:pPr algn="ctr" defTabSz="1217433"/>
            <a:endParaRPr lang="en-US" sz="4300" dirty="0">
              <a:solidFill>
                <a:prstClr val="white"/>
              </a:solidFill>
              <a:latin typeface="Segoe UI Light" pitchFamily="34" charset="0"/>
            </a:endParaRPr>
          </a:p>
        </p:txBody>
      </p:sp>
      <p:grpSp>
        <p:nvGrpSpPr>
          <p:cNvPr id="16" name="组合 15"/>
          <p:cNvGrpSpPr/>
          <p:nvPr/>
        </p:nvGrpSpPr>
        <p:grpSpPr>
          <a:xfrm>
            <a:off x="4774590" y="5723079"/>
            <a:ext cx="247517" cy="301748"/>
            <a:chOff x="4495800" y="-933450"/>
            <a:chExt cx="152400" cy="182880"/>
          </a:xfrm>
        </p:grpSpPr>
        <p:cxnSp>
          <p:nvCxnSpPr>
            <p:cNvPr id="10" name="直接连接符 9"/>
            <p:cNvCxnSpPr/>
            <p:nvPr/>
          </p:nvCxnSpPr>
          <p:spPr>
            <a:xfrm>
              <a:off x="4572000" y="-933450"/>
              <a:ext cx="0" cy="182880"/>
            </a:xfrm>
            <a:prstGeom prst="line">
              <a:avLst/>
            </a:prstGeom>
            <a:ln w="19050">
              <a:solidFill>
                <a:srgbClr val="E600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/>
            <p:cNvCxnSpPr/>
            <p:nvPr/>
          </p:nvCxnSpPr>
          <p:spPr>
            <a:xfrm>
              <a:off x="4495800" y="-857250"/>
              <a:ext cx="152400" cy="0"/>
            </a:xfrm>
            <a:prstGeom prst="line">
              <a:avLst/>
            </a:prstGeom>
            <a:ln w="19050">
              <a:solidFill>
                <a:srgbClr val="E600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椭圆 23"/>
          <p:cNvSpPr/>
          <p:nvPr/>
        </p:nvSpPr>
        <p:spPr>
          <a:xfrm>
            <a:off x="183877" y="341790"/>
            <a:ext cx="1229127" cy="1115857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0" tIns="45658" rIns="91310" bIns="45658" rtlCol="0" anchor="ctr"/>
          <a:lstStyle/>
          <a:p>
            <a:pPr algn="ctr"/>
            <a:endParaRPr lang="zh-CN" altLang="en-US" sz="2400"/>
          </a:p>
        </p:txBody>
      </p:sp>
      <p:sp>
        <p:nvSpPr>
          <p:cNvPr id="25" name="文本框 20"/>
          <p:cNvSpPr txBox="1"/>
          <p:nvPr/>
        </p:nvSpPr>
        <p:spPr>
          <a:xfrm>
            <a:off x="456912" y="368363"/>
            <a:ext cx="596054" cy="1123292"/>
          </a:xfrm>
          <a:prstGeom prst="rect">
            <a:avLst/>
          </a:prstGeom>
          <a:noFill/>
        </p:spPr>
        <p:txBody>
          <a:bodyPr wrap="square" lIns="91310" tIns="45658" rIns="91310" bIns="45658" rtlCol="0">
            <a:spAutoFit/>
          </a:bodyPr>
          <a:lstStyle/>
          <a:p>
            <a:r>
              <a:rPr lang="en-US" altLang="zh-CN" sz="67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zh-CN" altLang="en-US" sz="67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1661587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1878" y="997511"/>
            <a:ext cx="9532004" cy="4807767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31785" y="859630"/>
            <a:ext cx="2742618" cy="5991627"/>
          </a:xfrm>
          <a:prstGeom prst="rect">
            <a:avLst/>
          </a:prstGeom>
          <a:effectLst>
            <a:softEdge rad="38100"/>
          </a:effectLst>
        </p:spPr>
      </p:pic>
      <p:sp>
        <p:nvSpPr>
          <p:cNvPr id="26" name="矩形 25"/>
          <p:cNvSpPr/>
          <p:nvPr/>
        </p:nvSpPr>
        <p:spPr bwMode="auto">
          <a:xfrm>
            <a:off x="-6698" y="8"/>
            <a:ext cx="12197116" cy="1281525"/>
          </a:xfrm>
          <a:prstGeom prst="rect">
            <a:avLst/>
          </a:prstGeom>
          <a:solidFill>
            <a:srgbClr val="1E3E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98" tIns="60899" rIns="121798" bIns="60899" rtlCol="0" anchor="ctr"/>
          <a:lstStyle/>
          <a:p>
            <a:pPr algn="ctr" defTabSz="1217978"/>
            <a:endParaRPr lang="en-US" sz="4300" dirty="0">
              <a:solidFill>
                <a:prstClr val="white"/>
              </a:solidFill>
              <a:latin typeface="Segoe UI Light" pitchFamily="3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0" y="228600"/>
            <a:ext cx="4661788" cy="615430"/>
          </a:xfrm>
          <a:prstGeom prst="rect">
            <a:avLst/>
          </a:prstGeom>
          <a:noFill/>
        </p:spPr>
        <p:txBody>
          <a:bodyPr wrap="square" lIns="121798" tIns="60899" rIns="121798" bIns="60899" rtlCol="0">
            <a:spAutoFit/>
          </a:bodyPr>
          <a:lstStyle/>
          <a:p>
            <a:pPr defTabSz="1217978"/>
            <a:r>
              <a:rPr lang="en-US" sz="32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ÀNG RÀO ĐIỆN TỬ</a:t>
            </a:r>
            <a:endParaRPr lang="en-US" sz="3200" b="1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9" name="椭圆 8"/>
          <p:cNvSpPr/>
          <p:nvPr/>
        </p:nvSpPr>
        <p:spPr>
          <a:xfrm>
            <a:off x="4571206" y="7151"/>
            <a:ext cx="1152127" cy="1057207"/>
          </a:xfrm>
          <a:prstGeom prst="ellipse">
            <a:avLst/>
          </a:prstGeom>
          <a:solidFill>
            <a:srgbClr val="FFC000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0" tIns="45658" rIns="91310" bIns="45658" rtlCol="0" anchor="ctr"/>
          <a:lstStyle/>
          <a:p>
            <a:pPr algn="ctr"/>
            <a:endParaRPr lang="zh-CN" altLang="en-US" sz="2400"/>
          </a:p>
        </p:txBody>
      </p:sp>
      <p:sp>
        <p:nvSpPr>
          <p:cNvPr id="10" name="文本框 20"/>
          <p:cNvSpPr txBox="1"/>
          <p:nvPr/>
        </p:nvSpPr>
        <p:spPr>
          <a:xfrm>
            <a:off x="4772518" y="0"/>
            <a:ext cx="631263" cy="1126597"/>
          </a:xfrm>
          <a:prstGeom prst="rect">
            <a:avLst/>
          </a:prstGeom>
          <a:noFill/>
        </p:spPr>
        <p:txBody>
          <a:bodyPr wrap="square" lIns="91310" tIns="45658" rIns="91310" bIns="45658" rtlCol="0">
            <a:spAutoFit/>
          </a:bodyPr>
          <a:lstStyle/>
          <a:p>
            <a:r>
              <a:rPr lang="en-US" altLang="zh-CN" sz="67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lang="zh-CN" altLang="en-US" sz="67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Rectangle 535"/>
          <p:cNvSpPr/>
          <p:nvPr/>
        </p:nvSpPr>
        <p:spPr bwMode="auto">
          <a:xfrm>
            <a:off x="2932906" y="5768157"/>
            <a:ext cx="8749581" cy="1107996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just" defTabSz="1217433"/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hi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ương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iện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i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huyển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ào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hu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ực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ủa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àng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ào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iện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ử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à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hông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uân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ủ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eo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ác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ập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ong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hu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ực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hư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hạy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quá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ốc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ộ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ệ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ống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ẽ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ửi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ảnh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4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áo</a:t>
            </a:r>
            <a:r>
              <a:rPr lang="en-US" altLang="zh-CN" sz="2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xmlns="" val="122219572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C:\Users\tina\Downloads\124852783.jpg"/>
          <p:cNvPicPr>
            <a:picLocks noChangeAspect="1" noChangeArrowheads="1"/>
          </p:cNvPicPr>
          <p:nvPr/>
        </p:nvPicPr>
        <p:blipFill>
          <a:blip r:embed="rId3"/>
          <a:srcRect l="11265"/>
          <a:stretch>
            <a:fillRect/>
          </a:stretch>
        </p:blipFill>
        <p:spPr bwMode="auto">
          <a:xfrm>
            <a:off x="0" y="0"/>
            <a:ext cx="12359902" cy="6858000"/>
          </a:xfrm>
          <a:prstGeom prst="rect">
            <a:avLst/>
          </a:prstGeom>
          <a:noFill/>
        </p:spPr>
      </p:pic>
      <p:sp>
        <p:nvSpPr>
          <p:cNvPr id="7" name="Rectangle 11"/>
          <p:cNvSpPr/>
          <p:nvPr/>
        </p:nvSpPr>
        <p:spPr bwMode="auto">
          <a:xfrm>
            <a:off x="1" y="638295"/>
            <a:ext cx="12359900" cy="5378756"/>
          </a:xfrm>
          <a:prstGeom prst="rect">
            <a:avLst/>
          </a:prstGeom>
          <a:solidFill>
            <a:srgbClr val="505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26" tIns="45665" rIns="91326" bIns="45665" numCol="1" rtlCol="0" anchor="ctr" anchorCtr="0" compatLnSpc="1">
            <a:prstTxWarp prst="textNoShape">
              <a:avLst/>
            </a:prstTxWarp>
          </a:bodyPr>
          <a:lstStyle/>
          <a:p>
            <a:pPr algn="ctr" defTabSz="912951">
              <a:defRPr/>
            </a:pPr>
            <a:endParaRPr lang="en-US" sz="2300" kern="0" dirty="0">
              <a:solidFill>
                <a:srgbClr val="FFFFFF">
                  <a:alpha val="99000"/>
                </a:srgbClr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070580" y="628844"/>
            <a:ext cx="1810472" cy="267285"/>
          </a:xfrm>
          <a:prstGeom prst="rect">
            <a:avLst/>
          </a:prstGeom>
          <a:solidFill>
            <a:srgbClr val="DC3C00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09617" tIns="73075" rIns="109617" bIns="73075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defTabSz="914363">
              <a:defRPr sz="2000"/>
            </a:lvl1pPr>
          </a:lstStyle>
          <a:p>
            <a:pPr defTabSz="913139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200" b="1" kern="0" dirty="0" err="1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Dữ</a:t>
            </a:r>
            <a:r>
              <a:rPr lang="en-US" altLang="zh-CN" sz="1200" b="1" kern="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b="1" kern="0" dirty="0" err="1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Liệu</a:t>
            </a:r>
            <a:r>
              <a:rPr lang="en-US" altLang="zh-CN" sz="1200" b="1" kern="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 GPS</a:t>
            </a:r>
            <a:endParaRPr lang="en-US" sz="1200" b="1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345736" y="630968"/>
            <a:ext cx="1810474" cy="267285"/>
          </a:xfrm>
          <a:prstGeom prst="rect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82626" tIns="91318" rIns="182626" bIns="9131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1624214" fontAlgn="base">
              <a:defRPr sz="1600" kern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</a:defRPr>
            </a:lvl1pPr>
          </a:lstStyle>
          <a:p>
            <a:pPr defTabSz="1589912">
              <a:defRPr/>
            </a:pPr>
            <a:r>
              <a:rPr lang="en-US" altLang="zh-CN" sz="12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Vùng</a:t>
            </a:r>
            <a:r>
              <a:rPr lang="en-US" altLang="zh-CN" sz="12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Cảnh</a:t>
            </a:r>
            <a:r>
              <a:rPr lang="en-US" altLang="zh-CN" sz="12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Báo</a:t>
            </a:r>
            <a:endParaRPr lang="en-US" sz="1200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991554" y="630964"/>
            <a:ext cx="1810472" cy="267285"/>
          </a:xfrm>
          <a:prstGeom prst="rect">
            <a:avLst/>
          </a:prstGeom>
          <a:solidFill>
            <a:srgbClr val="7FBA00"/>
          </a:solidFill>
          <a:ln w="12700">
            <a:noFill/>
            <a:prstDash val="sysDash"/>
          </a:ln>
        </p:spPr>
        <p:txBody>
          <a:bodyPr wrap="square" lIns="89522" tIns="44762" rIns="89522" bIns="44762" rtlCol="0" anchor="ctr" anchorCtr="0">
            <a:noAutofit/>
          </a:bodyPr>
          <a:lstStyle>
            <a:defPPr>
              <a:defRPr lang="en-US"/>
            </a:defPPr>
            <a:lvl1pPr algn="ctr" defTabSz="1624214" fontAlgn="base">
              <a:defRPr sz="1600" kern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</a:defRPr>
            </a:lvl1pPr>
          </a:lstStyle>
          <a:p>
            <a:pPr defTabSz="1591122">
              <a:defRPr/>
            </a:pPr>
            <a:r>
              <a:rPr lang="en-US" sz="12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Quá</a:t>
            </a:r>
            <a:r>
              <a:rPr lang="en-US" sz="12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2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ốc</a:t>
            </a:r>
            <a:r>
              <a:rPr lang="en-US" sz="12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2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Độ</a:t>
            </a:r>
            <a:endParaRPr lang="en-US" sz="12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627593" y="628864"/>
            <a:ext cx="1804217" cy="285536"/>
          </a:xfrm>
          <a:prstGeom prst="rect">
            <a:avLst/>
          </a:prstGeom>
          <a:solidFill>
            <a:srgbClr val="FF8A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89578" tIns="44788" rIns="89578" bIns="268732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defTabSz="914363">
              <a:defRPr sz="2000"/>
            </a:lvl1pPr>
          </a:lstStyle>
          <a:p>
            <a:pPr defTabSz="1589912" fontAlgn="base">
              <a:defRPr/>
            </a:pPr>
            <a:r>
              <a:rPr lang="en-US" sz="1100" b="1" kern="0" dirty="0" err="1" smtClean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Thông</a:t>
            </a:r>
            <a:r>
              <a:rPr lang="en-US" sz="1100" b="1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b="1" kern="0" dirty="0" err="1" smtClean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Số</a:t>
            </a:r>
            <a:r>
              <a:rPr lang="en-US" sz="1100" b="1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b="1" kern="0" dirty="0" err="1" smtClean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Phương</a:t>
            </a:r>
            <a:r>
              <a:rPr lang="en-US" sz="1100" b="1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b="1" kern="0" dirty="0" err="1" smtClean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Tiện</a:t>
            </a:r>
            <a:endParaRPr lang="en-US" sz="1100" b="1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0">
                    <a:sysClr val="window" lastClr="FFFFFF"/>
                  </a:gs>
                  <a:gs pos="100000">
                    <a:sysClr val="window" lastClr="FFFFFF"/>
                  </a:gs>
                </a:gsLst>
                <a:lin ang="16200000" scaled="0"/>
              </a:gra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631107" y="630968"/>
            <a:ext cx="1631314" cy="267285"/>
          </a:xfrm>
          <a:prstGeom prst="rect">
            <a:avLst/>
          </a:prstGeom>
          <a:solidFill>
            <a:srgbClr val="7030A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82626" tIns="91318" rIns="182626" bIns="9131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914363">
              <a:defRPr sz="2000"/>
            </a:lvl1pPr>
          </a:lstStyle>
          <a:p>
            <a:pPr algn="ctr" defTabSz="1589912" fontAlgn="base">
              <a:defRPr/>
            </a:pPr>
            <a:r>
              <a:rPr lang="en-US" sz="1200" b="1" kern="0" dirty="0" err="1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Etc</a:t>
            </a: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0">
                    <a:sysClr val="window" lastClr="FFFFFF"/>
                  </a:gs>
                  <a:gs pos="100000">
                    <a:sysClr val="window" lastClr="FFFFFF"/>
                  </a:gs>
                </a:gsLst>
                <a:lin ang="16200000" scaled="0"/>
              </a:gra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38028" y="924127"/>
            <a:ext cx="9537976" cy="229233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-25467" y="3835047"/>
            <a:ext cx="2448272" cy="521310"/>
          </a:xfrm>
          <a:prstGeom prst="rect">
            <a:avLst/>
          </a:prstGeom>
          <a:noFill/>
        </p:spPr>
        <p:txBody>
          <a:bodyPr wrap="square" lIns="89546" tIns="44774" rIns="89546" bIns="44774" rtlCol="0">
            <a:spAutoFit/>
          </a:bodyPr>
          <a:lstStyle/>
          <a:p>
            <a:pPr marL="0" lvl="1" algn="ctr" defTabSz="912695">
              <a:spcBef>
                <a:spcPts val="1200"/>
              </a:spcBef>
              <a:buSzPct val="100000"/>
            </a:pPr>
            <a:r>
              <a:rPr lang="en-US" altLang="zh-CN" sz="2800" b="1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C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ÁO CÁO</a:t>
            </a:r>
            <a:endParaRPr lang="en-US" altLang="zh-CN" sz="2800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6" name="椭圆 15"/>
          <p:cNvSpPr/>
          <p:nvPr/>
        </p:nvSpPr>
        <p:spPr>
          <a:xfrm>
            <a:off x="617613" y="2508824"/>
            <a:ext cx="1229127" cy="1115857"/>
          </a:xfrm>
          <a:prstGeom prst="ellipse">
            <a:avLst/>
          </a:prstGeom>
          <a:solidFill>
            <a:srgbClr val="FFC000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0" tIns="45658" rIns="91310" bIns="45658" rtlCol="0" anchor="ctr"/>
          <a:lstStyle/>
          <a:p>
            <a:pPr algn="ctr"/>
            <a:endParaRPr lang="zh-CN" altLang="en-US" sz="2400"/>
          </a:p>
        </p:txBody>
      </p:sp>
      <p:sp>
        <p:nvSpPr>
          <p:cNvPr id="17" name="文本框 20"/>
          <p:cNvSpPr txBox="1"/>
          <p:nvPr/>
        </p:nvSpPr>
        <p:spPr>
          <a:xfrm>
            <a:off x="890646" y="2535399"/>
            <a:ext cx="596054" cy="1123292"/>
          </a:xfrm>
          <a:prstGeom prst="rect">
            <a:avLst/>
          </a:prstGeom>
          <a:noFill/>
        </p:spPr>
        <p:txBody>
          <a:bodyPr wrap="square" lIns="91310" tIns="45658" rIns="91310" bIns="45658" rtlCol="0">
            <a:spAutoFit/>
          </a:bodyPr>
          <a:lstStyle/>
          <a:p>
            <a:r>
              <a:rPr lang="en-US" altLang="zh-CN" sz="67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lang="zh-CN" altLang="en-US" sz="67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2278792" y="6078449"/>
            <a:ext cx="9302814" cy="646254"/>
          </a:xfrm>
          <a:prstGeom prst="rect">
            <a:avLst/>
          </a:prstGeom>
        </p:spPr>
        <p:txBody>
          <a:bodyPr wrap="square" lIns="91366" tIns="45682" rIns="91366" bIns="45682">
            <a:spAutoFit/>
          </a:bodyPr>
          <a:lstStyle/>
          <a:p>
            <a:pPr algn="just"/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ỗ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ợ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ập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ác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áo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áo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ề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ình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ạng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áo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áo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áo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ộng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ình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ạng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ương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iện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ung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ấp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ác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ố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iệu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ần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ho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iệc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ận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ành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à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quản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ý</a:t>
            </a:r>
            <a:r>
              <a:rPr lang="en-US" altLang="zh-CN" sz="1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341127" y="630964"/>
            <a:ext cx="1804218" cy="267285"/>
          </a:xfrm>
          <a:prstGeom prst="rect">
            <a:avLst/>
          </a:prstGeom>
          <a:solidFill>
            <a:srgbClr val="007233"/>
          </a:solidFill>
          <a:ln w="12700">
            <a:noFill/>
            <a:prstDash val="sysDash"/>
          </a:ln>
        </p:spPr>
        <p:txBody>
          <a:bodyPr wrap="square" lIns="89522" tIns="44762" rIns="89522" bIns="44762" rtlCol="0" anchor="ctr" anchorCtr="0">
            <a:noAutofit/>
          </a:bodyPr>
          <a:lstStyle>
            <a:defPPr>
              <a:defRPr lang="en-US"/>
            </a:defPPr>
            <a:lvl1pPr defTabSz="914363">
              <a:defRPr sz="2000"/>
            </a:lvl1pPr>
          </a:lstStyle>
          <a:p>
            <a:pPr algn="ctr" defTabSz="1589912" fontAlgn="base">
              <a:defRPr/>
            </a:pPr>
            <a:r>
              <a:rPr lang="en-US" altLang="zh-CN" sz="1100" b="1" kern="0" dirty="0" err="1" smtClean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Tình</a:t>
            </a:r>
            <a:r>
              <a:rPr lang="en-US" altLang="zh-CN" sz="1100" b="1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100" b="1" kern="0" dirty="0" err="1" smtClean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Trạng</a:t>
            </a:r>
            <a:r>
              <a:rPr lang="en-US" altLang="zh-CN" sz="1100" b="1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100" b="1" kern="0" dirty="0" err="1" smtClean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altLang="zh-CN" sz="1100" b="1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100" b="1" kern="0" dirty="0" err="1" smtClean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altLang="zh-CN" sz="1100" b="1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 GPS</a:t>
            </a:r>
            <a:endParaRPr lang="en-US" sz="1100" b="1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0">
                    <a:sysClr val="window" lastClr="FFFFFF"/>
                  </a:gs>
                  <a:gs pos="100000">
                    <a:sysClr val="window" lastClr="FFFFFF"/>
                  </a:gs>
                </a:gsLst>
                <a:lin ang="16200000" scaled="0"/>
              </a:gra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5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41127" y="924127"/>
            <a:ext cx="9537976" cy="48950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0" name="Picture 6"/>
          <p:cNvPicPr>
            <a:picLocks noChangeAspect="1" noChangeArrowheads="1"/>
          </p:cNvPicPr>
          <p:nvPr/>
        </p:nvPicPr>
        <p:blipFill>
          <a:blip r:embed="rId6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78782" y="990600"/>
            <a:ext cx="9911631" cy="278687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00894687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71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61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6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6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9" grpId="0" animBg="1"/>
      <p:bldP spid="10" grpId="0" animBg="1"/>
      <p:bldP spid="12" grpId="0" animBg="1"/>
      <p:bldP spid="13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0413" cy="6858000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 bwMode="auto">
          <a:xfrm>
            <a:off x="0" y="5969000"/>
            <a:ext cx="12197116" cy="889000"/>
          </a:xfrm>
          <a:prstGeom prst="rect">
            <a:avLst/>
          </a:prstGeom>
          <a:solidFill>
            <a:srgbClr val="1E3E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6" tIns="60949" rIns="121896" bIns="60949" rtlCol="0" anchor="ctr"/>
          <a:lstStyle/>
          <a:p>
            <a:pPr algn="ctr" defTabSz="1218957"/>
            <a:endParaRPr lang="en-US" sz="4300" dirty="0">
              <a:solidFill>
                <a:prstClr val="white"/>
              </a:solidFill>
              <a:latin typeface="Segoe UI Light" pitchFamily="3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522413" y="6172200"/>
            <a:ext cx="10668000" cy="467798"/>
          </a:xfrm>
          <a:prstGeom prst="rect">
            <a:avLst/>
          </a:prstGeom>
          <a:noFill/>
        </p:spPr>
        <p:txBody>
          <a:bodyPr wrap="square" lIns="121896" tIns="60949" rIns="121896" bIns="60949" rtlCol="0">
            <a:spAutoFit/>
          </a:bodyPr>
          <a:lstStyle>
            <a:defPPr>
              <a:defRPr lang="zh-CN"/>
            </a:defPPr>
            <a:lvl1pPr>
              <a:lnSpc>
                <a:spcPct val="80000"/>
              </a:lnSpc>
              <a:defRPr sz="2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1218957"/>
            <a:r>
              <a:rPr lang="en-US" sz="28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ẦN MỀM TƯƠNG THÍCH VỚI NHIỀU THIẾT BỊ DI ĐỘNG</a:t>
            </a:r>
            <a:endParaRPr lang="en-US" sz="2800" b="1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6267700" y="3645024"/>
            <a:ext cx="5240165" cy="17698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6" tIns="60949" rIns="121896" bIns="60949" rtlCol="0" anchor="ctr"/>
          <a:lstStyle/>
          <a:p>
            <a:pPr algn="just" defTabSz="1218957"/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ần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ềm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ử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ụng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ho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ác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phone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à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ndriod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ó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hiều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ính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ăng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hư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ản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ồ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iện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ử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xem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ước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xem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ại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ính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300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ăng</a:t>
            </a:r>
            <a:r>
              <a:rPr lang="en-US" sz="23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GPRS…</a:t>
            </a:r>
          </a:p>
        </p:txBody>
      </p:sp>
      <p:sp>
        <p:nvSpPr>
          <p:cNvPr id="31" name="矩形 30"/>
          <p:cNvSpPr/>
          <p:nvPr/>
        </p:nvSpPr>
        <p:spPr bwMode="auto">
          <a:xfrm>
            <a:off x="2133324" y="1764535"/>
            <a:ext cx="5455859" cy="1149264"/>
          </a:xfrm>
          <a:prstGeom prst="rect">
            <a:avLst/>
          </a:prstGeom>
          <a:solidFill>
            <a:srgbClr val="92D050">
              <a:alpha val="6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6" tIns="60949" rIns="121896" bIns="60949" rtlCol="0" anchor="ctr"/>
          <a:lstStyle/>
          <a:p>
            <a:pPr algn="ctr" defTabSz="1218957"/>
            <a:endParaRPr lang="en-US" sz="4300" dirty="0">
              <a:solidFill>
                <a:prstClr val="white"/>
              </a:solidFill>
              <a:latin typeface="Segoe UI Light" pitchFamily="34" charset="0"/>
            </a:endParaRPr>
          </a:p>
        </p:txBody>
      </p:sp>
      <p:grpSp>
        <p:nvGrpSpPr>
          <p:cNvPr id="12" name="组合 11"/>
          <p:cNvGrpSpPr/>
          <p:nvPr/>
        </p:nvGrpSpPr>
        <p:grpSpPr>
          <a:xfrm>
            <a:off x="3964557" y="1470544"/>
            <a:ext cx="2788549" cy="1631512"/>
            <a:chOff x="9145506" y="4399121"/>
            <a:chExt cx="2091684" cy="1223634"/>
          </a:xfrm>
        </p:grpSpPr>
        <p:sp>
          <p:nvSpPr>
            <p:cNvPr id="13" name="Hexagon 38"/>
            <p:cNvSpPr/>
            <p:nvPr/>
          </p:nvSpPr>
          <p:spPr bwMode="auto">
            <a:xfrm rot="19780699">
              <a:off x="9492235" y="4999548"/>
              <a:ext cx="722921" cy="623207"/>
            </a:xfrm>
            <a:prstGeom prst="hexagon">
              <a:avLst>
                <a:gd name="adj" fmla="val 28905"/>
                <a:gd name="vf" fmla="val 115470"/>
              </a:avLst>
            </a:prstGeom>
            <a:solidFill>
              <a:srgbClr val="00AEE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21855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14" name="Hexagon 35"/>
            <p:cNvSpPr/>
            <p:nvPr/>
          </p:nvSpPr>
          <p:spPr bwMode="auto">
            <a:xfrm rot="19780699">
              <a:off x="10178035" y="4999548"/>
              <a:ext cx="722921" cy="623207"/>
            </a:xfrm>
            <a:prstGeom prst="hexagon">
              <a:avLst>
                <a:gd name="adj" fmla="val 28905"/>
                <a:gd name="vf" fmla="val 115470"/>
              </a:avLst>
            </a:prstGeom>
            <a:solidFill>
              <a:srgbClr val="00AEE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21855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15" name="Hexagon 32"/>
            <p:cNvSpPr/>
            <p:nvPr/>
          </p:nvSpPr>
          <p:spPr bwMode="auto">
            <a:xfrm rot="19780699">
              <a:off x="9829792" y="4409365"/>
              <a:ext cx="722921" cy="623207"/>
            </a:xfrm>
            <a:prstGeom prst="hexagon">
              <a:avLst>
                <a:gd name="adj" fmla="val 28905"/>
                <a:gd name="vf" fmla="val 115470"/>
              </a:avLst>
            </a:prstGeom>
            <a:solidFill>
              <a:srgbClr val="00AEE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21855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16" name="Hexagon 65"/>
            <p:cNvSpPr/>
            <p:nvPr/>
          </p:nvSpPr>
          <p:spPr bwMode="auto">
            <a:xfrm rot="19780699">
              <a:off x="9145506" y="4399121"/>
              <a:ext cx="722921" cy="623207"/>
            </a:xfrm>
            <a:prstGeom prst="hexagon">
              <a:avLst>
                <a:gd name="adj" fmla="val 28905"/>
                <a:gd name="vf" fmla="val 115470"/>
              </a:avLst>
            </a:prstGeom>
            <a:solidFill>
              <a:srgbClr val="00B0F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21855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17" name="Hexagon 68"/>
            <p:cNvSpPr/>
            <p:nvPr/>
          </p:nvSpPr>
          <p:spPr bwMode="auto">
            <a:xfrm rot="19780699">
              <a:off x="10514269" y="4403028"/>
              <a:ext cx="722921" cy="623207"/>
            </a:xfrm>
            <a:prstGeom prst="hexagon">
              <a:avLst>
                <a:gd name="adj" fmla="val 28905"/>
                <a:gd name="vf" fmla="val 115470"/>
              </a:avLst>
            </a:prstGeom>
            <a:solidFill>
              <a:srgbClr val="00B0F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21855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grpSp>
          <p:nvGrpSpPr>
            <p:cNvPr id="18" name="组合 92"/>
            <p:cNvGrpSpPr/>
            <p:nvPr/>
          </p:nvGrpSpPr>
          <p:grpSpPr>
            <a:xfrm>
              <a:off x="10278523" y="5139437"/>
              <a:ext cx="533400" cy="304800"/>
              <a:chOff x="5913437" y="1910507"/>
              <a:chExt cx="1059840" cy="762000"/>
            </a:xfrm>
          </p:grpSpPr>
          <p:sp>
            <p:nvSpPr>
              <p:cNvPr id="29" name="Freeform 626"/>
              <p:cNvSpPr>
                <a:spLocks noChangeAspect="1" noEditPoints="1"/>
              </p:cNvSpPr>
              <p:nvPr/>
            </p:nvSpPr>
            <p:spPr bwMode="auto">
              <a:xfrm>
                <a:off x="5913437" y="1910507"/>
                <a:ext cx="1059840" cy="762000"/>
              </a:xfrm>
              <a:custGeom>
                <a:avLst/>
                <a:gdLst>
                  <a:gd name="T0" fmla="*/ 340 w 400"/>
                  <a:gd name="T1" fmla="*/ 0 h 214"/>
                  <a:gd name="T2" fmla="*/ 61 w 400"/>
                  <a:gd name="T3" fmla="*/ 0 h 214"/>
                  <a:gd name="T4" fmla="*/ 51 w 400"/>
                  <a:gd name="T5" fmla="*/ 10 h 214"/>
                  <a:gd name="T6" fmla="*/ 51 w 400"/>
                  <a:gd name="T7" fmla="*/ 181 h 214"/>
                  <a:gd name="T8" fmla="*/ 61 w 400"/>
                  <a:gd name="T9" fmla="*/ 191 h 214"/>
                  <a:gd name="T10" fmla="*/ 340 w 400"/>
                  <a:gd name="T11" fmla="*/ 191 h 214"/>
                  <a:gd name="T12" fmla="*/ 350 w 400"/>
                  <a:gd name="T13" fmla="*/ 181 h 214"/>
                  <a:gd name="T14" fmla="*/ 350 w 400"/>
                  <a:gd name="T15" fmla="*/ 10 h 214"/>
                  <a:gd name="T16" fmla="*/ 340 w 400"/>
                  <a:gd name="T17" fmla="*/ 0 h 214"/>
                  <a:gd name="T18" fmla="*/ 337 w 400"/>
                  <a:gd name="T19" fmla="*/ 179 h 214"/>
                  <a:gd name="T20" fmla="*/ 64 w 400"/>
                  <a:gd name="T21" fmla="*/ 179 h 214"/>
                  <a:gd name="T22" fmla="*/ 64 w 400"/>
                  <a:gd name="T23" fmla="*/ 11 h 214"/>
                  <a:gd name="T24" fmla="*/ 337 w 400"/>
                  <a:gd name="T25" fmla="*/ 11 h 214"/>
                  <a:gd name="T26" fmla="*/ 337 w 400"/>
                  <a:gd name="T27" fmla="*/ 179 h 214"/>
                  <a:gd name="T28" fmla="*/ 228 w 400"/>
                  <a:gd name="T29" fmla="*/ 198 h 214"/>
                  <a:gd name="T30" fmla="*/ 228 w 400"/>
                  <a:gd name="T31" fmla="*/ 200 h 214"/>
                  <a:gd name="T32" fmla="*/ 224 w 400"/>
                  <a:gd name="T33" fmla="*/ 203 h 214"/>
                  <a:gd name="T34" fmla="*/ 177 w 400"/>
                  <a:gd name="T35" fmla="*/ 203 h 214"/>
                  <a:gd name="T36" fmla="*/ 173 w 400"/>
                  <a:gd name="T37" fmla="*/ 200 h 214"/>
                  <a:gd name="T38" fmla="*/ 173 w 400"/>
                  <a:gd name="T39" fmla="*/ 198 h 214"/>
                  <a:gd name="T40" fmla="*/ 0 w 400"/>
                  <a:gd name="T41" fmla="*/ 198 h 214"/>
                  <a:gd name="T42" fmla="*/ 0 w 400"/>
                  <a:gd name="T43" fmla="*/ 208 h 214"/>
                  <a:gd name="T44" fmla="*/ 13 w 400"/>
                  <a:gd name="T45" fmla="*/ 214 h 214"/>
                  <a:gd name="T46" fmla="*/ 13 w 400"/>
                  <a:gd name="T47" fmla="*/ 214 h 214"/>
                  <a:gd name="T48" fmla="*/ 387 w 400"/>
                  <a:gd name="T49" fmla="*/ 214 h 214"/>
                  <a:gd name="T50" fmla="*/ 387 w 400"/>
                  <a:gd name="T51" fmla="*/ 214 h 214"/>
                  <a:gd name="T52" fmla="*/ 400 w 400"/>
                  <a:gd name="T53" fmla="*/ 208 h 214"/>
                  <a:gd name="T54" fmla="*/ 400 w 400"/>
                  <a:gd name="T55" fmla="*/ 198 h 214"/>
                  <a:gd name="T56" fmla="*/ 228 w 400"/>
                  <a:gd name="T57" fmla="*/ 198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00" h="214">
                    <a:moveTo>
                      <a:pt x="340" y="0"/>
                    </a:moveTo>
                    <a:cubicBezTo>
                      <a:pt x="61" y="0"/>
                      <a:pt x="61" y="0"/>
                      <a:pt x="61" y="0"/>
                    </a:cubicBezTo>
                    <a:cubicBezTo>
                      <a:pt x="56" y="0"/>
                      <a:pt x="51" y="4"/>
                      <a:pt x="51" y="10"/>
                    </a:cubicBezTo>
                    <a:cubicBezTo>
                      <a:pt x="51" y="181"/>
                      <a:pt x="51" y="181"/>
                      <a:pt x="51" y="181"/>
                    </a:cubicBezTo>
                    <a:cubicBezTo>
                      <a:pt x="51" y="187"/>
                      <a:pt x="56" y="191"/>
                      <a:pt x="61" y="191"/>
                    </a:cubicBezTo>
                    <a:cubicBezTo>
                      <a:pt x="340" y="191"/>
                      <a:pt x="340" y="191"/>
                      <a:pt x="340" y="191"/>
                    </a:cubicBezTo>
                    <a:cubicBezTo>
                      <a:pt x="346" y="191"/>
                      <a:pt x="350" y="187"/>
                      <a:pt x="350" y="181"/>
                    </a:cubicBezTo>
                    <a:cubicBezTo>
                      <a:pt x="350" y="10"/>
                      <a:pt x="350" y="10"/>
                      <a:pt x="350" y="10"/>
                    </a:cubicBezTo>
                    <a:cubicBezTo>
                      <a:pt x="350" y="4"/>
                      <a:pt x="346" y="0"/>
                      <a:pt x="340" y="0"/>
                    </a:cubicBezTo>
                    <a:close/>
                    <a:moveTo>
                      <a:pt x="337" y="179"/>
                    </a:moveTo>
                    <a:cubicBezTo>
                      <a:pt x="64" y="179"/>
                      <a:pt x="64" y="179"/>
                      <a:pt x="64" y="179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337" y="11"/>
                      <a:pt x="337" y="11"/>
                      <a:pt x="337" y="11"/>
                    </a:cubicBezTo>
                    <a:cubicBezTo>
                      <a:pt x="337" y="179"/>
                      <a:pt x="337" y="179"/>
                      <a:pt x="337" y="179"/>
                    </a:cubicBezTo>
                    <a:close/>
                    <a:moveTo>
                      <a:pt x="228" y="198"/>
                    </a:moveTo>
                    <a:cubicBezTo>
                      <a:pt x="228" y="200"/>
                      <a:pt x="228" y="200"/>
                      <a:pt x="228" y="200"/>
                    </a:cubicBezTo>
                    <a:cubicBezTo>
                      <a:pt x="228" y="202"/>
                      <a:pt x="226" y="203"/>
                      <a:pt x="224" y="203"/>
                    </a:cubicBezTo>
                    <a:cubicBezTo>
                      <a:pt x="177" y="203"/>
                      <a:pt x="177" y="203"/>
                      <a:pt x="177" y="203"/>
                    </a:cubicBezTo>
                    <a:cubicBezTo>
                      <a:pt x="175" y="203"/>
                      <a:pt x="173" y="202"/>
                      <a:pt x="173" y="200"/>
                    </a:cubicBezTo>
                    <a:cubicBezTo>
                      <a:pt x="173" y="198"/>
                      <a:pt x="173" y="198"/>
                      <a:pt x="173" y="198"/>
                    </a:cubicBezTo>
                    <a:cubicBezTo>
                      <a:pt x="0" y="198"/>
                      <a:pt x="0" y="198"/>
                      <a:pt x="0" y="198"/>
                    </a:cubicBezTo>
                    <a:cubicBezTo>
                      <a:pt x="0" y="208"/>
                      <a:pt x="0" y="208"/>
                      <a:pt x="0" y="208"/>
                    </a:cubicBezTo>
                    <a:cubicBezTo>
                      <a:pt x="0" y="208"/>
                      <a:pt x="9" y="214"/>
                      <a:pt x="13" y="214"/>
                    </a:cubicBezTo>
                    <a:cubicBezTo>
                      <a:pt x="13" y="214"/>
                      <a:pt x="13" y="214"/>
                      <a:pt x="13" y="214"/>
                    </a:cubicBezTo>
                    <a:cubicBezTo>
                      <a:pt x="387" y="214"/>
                      <a:pt x="387" y="214"/>
                      <a:pt x="387" y="214"/>
                    </a:cubicBezTo>
                    <a:cubicBezTo>
                      <a:pt x="387" y="214"/>
                      <a:pt x="387" y="214"/>
                      <a:pt x="387" y="214"/>
                    </a:cubicBezTo>
                    <a:cubicBezTo>
                      <a:pt x="391" y="214"/>
                      <a:pt x="400" y="208"/>
                      <a:pt x="400" y="208"/>
                    </a:cubicBezTo>
                    <a:cubicBezTo>
                      <a:pt x="400" y="198"/>
                      <a:pt x="400" y="198"/>
                      <a:pt x="400" y="198"/>
                    </a:cubicBezTo>
                    <a:lnTo>
                      <a:pt x="228" y="19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 vert="horz" wrap="square" lIns="93224" tIns="46612" rIns="93224" bIns="46612" numCol="1" anchor="t" anchorCtr="0" compatLnSpc="1">
                <a:prstTxWarp prst="textNoShape">
                  <a:avLst/>
                </a:prstTxWarp>
              </a:bodyPr>
              <a:lstStyle/>
              <a:p>
                <a:pPr defTabSz="1242748">
                  <a:defRPr/>
                </a:pPr>
                <a:endParaRPr lang="en-US" sz="24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0" name="Freeform 14"/>
              <p:cNvSpPr>
                <a:spLocks noEditPoints="1"/>
              </p:cNvSpPr>
              <p:nvPr/>
            </p:nvSpPr>
            <p:spPr bwMode="auto">
              <a:xfrm>
                <a:off x="6294437" y="2049462"/>
                <a:ext cx="304800" cy="304800"/>
              </a:xfrm>
              <a:custGeom>
                <a:avLst/>
                <a:gdLst>
                  <a:gd name="T0" fmla="*/ 52 w 117"/>
                  <a:gd name="T1" fmla="*/ 9 h 117"/>
                  <a:gd name="T2" fmla="*/ 117 w 117"/>
                  <a:gd name="T3" fmla="*/ 0 h 117"/>
                  <a:gd name="T4" fmla="*/ 117 w 117"/>
                  <a:gd name="T5" fmla="*/ 57 h 117"/>
                  <a:gd name="T6" fmla="*/ 52 w 117"/>
                  <a:gd name="T7" fmla="*/ 57 h 117"/>
                  <a:gd name="T8" fmla="*/ 52 w 117"/>
                  <a:gd name="T9" fmla="*/ 9 h 117"/>
                  <a:gd name="T10" fmla="*/ 52 w 117"/>
                  <a:gd name="T11" fmla="*/ 9 h 117"/>
                  <a:gd name="T12" fmla="*/ 50 w 117"/>
                  <a:gd name="T13" fmla="*/ 57 h 117"/>
                  <a:gd name="T14" fmla="*/ 50 w 117"/>
                  <a:gd name="T15" fmla="*/ 9 h 117"/>
                  <a:gd name="T16" fmla="*/ 0 w 117"/>
                  <a:gd name="T17" fmla="*/ 16 h 117"/>
                  <a:gd name="T18" fmla="*/ 0 w 117"/>
                  <a:gd name="T19" fmla="*/ 57 h 117"/>
                  <a:gd name="T20" fmla="*/ 50 w 117"/>
                  <a:gd name="T21" fmla="*/ 57 h 117"/>
                  <a:gd name="T22" fmla="*/ 50 w 117"/>
                  <a:gd name="T23" fmla="*/ 57 h 117"/>
                  <a:gd name="T24" fmla="*/ 52 w 117"/>
                  <a:gd name="T25" fmla="*/ 59 h 117"/>
                  <a:gd name="T26" fmla="*/ 52 w 117"/>
                  <a:gd name="T27" fmla="*/ 108 h 117"/>
                  <a:gd name="T28" fmla="*/ 117 w 117"/>
                  <a:gd name="T29" fmla="*/ 117 h 117"/>
                  <a:gd name="T30" fmla="*/ 117 w 117"/>
                  <a:gd name="T31" fmla="*/ 59 h 117"/>
                  <a:gd name="T32" fmla="*/ 52 w 117"/>
                  <a:gd name="T33" fmla="*/ 59 h 117"/>
                  <a:gd name="T34" fmla="*/ 52 w 117"/>
                  <a:gd name="T35" fmla="*/ 59 h 117"/>
                  <a:gd name="T36" fmla="*/ 50 w 117"/>
                  <a:gd name="T37" fmla="*/ 59 h 117"/>
                  <a:gd name="T38" fmla="*/ 0 w 117"/>
                  <a:gd name="T39" fmla="*/ 59 h 117"/>
                  <a:gd name="T40" fmla="*/ 0 w 117"/>
                  <a:gd name="T41" fmla="*/ 100 h 117"/>
                  <a:gd name="T42" fmla="*/ 50 w 117"/>
                  <a:gd name="T43" fmla="*/ 107 h 117"/>
                  <a:gd name="T44" fmla="*/ 50 w 117"/>
                  <a:gd name="T45" fmla="*/ 59 h 117"/>
                  <a:gd name="T46" fmla="*/ 50 w 117"/>
                  <a:gd name="T47" fmla="*/ 59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17" h="117">
                    <a:moveTo>
                      <a:pt x="52" y="9"/>
                    </a:moveTo>
                    <a:cubicBezTo>
                      <a:pt x="117" y="0"/>
                      <a:pt x="117" y="0"/>
                      <a:pt x="117" y="0"/>
                    </a:cubicBezTo>
                    <a:cubicBezTo>
                      <a:pt x="117" y="57"/>
                      <a:pt x="117" y="57"/>
                      <a:pt x="117" y="57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2" y="9"/>
                      <a:pt x="52" y="9"/>
                      <a:pt x="52" y="9"/>
                    </a:cubicBezTo>
                    <a:cubicBezTo>
                      <a:pt x="52" y="9"/>
                      <a:pt x="52" y="9"/>
                      <a:pt x="52" y="9"/>
                    </a:cubicBezTo>
                    <a:close/>
                    <a:moveTo>
                      <a:pt x="50" y="57"/>
                    </a:moveTo>
                    <a:cubicBezTo>
                      <a:pt x="50" y="9"/>
                      <a:pt x="50" y="9"/>
                      <a:pt x="50" y="9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50" y="57"/>
                      <a:pt x="50" y="57"/>
                      <a:pt x="50" y="57"/>
                    </a:cubicBezTo>
                    <a:cubicBezTo>
                      <a:pt x="50" y="57"/>
                      <a:pt x="50" y="57"/>
                      <a:pt x="50" y="57"/>
                    </a:cubicBezTo>
                    <a:close/>
                    <a:moveTo>
                      <a:pt x="52" y="59"/>
                    </a:moveTo>
                    <a:cubicBezTo>
                      <a:pt x="52" y="108"/>
                      <a:pt x="52" y="108"/>
                      <a:pt x="52" y="108"/>
                    </a:cubicBezTo>
                    <a:cubicBezTo>
                      <a:pt x="117" y="117"/>
                      <a:pt x="117" y="117"/>
                      <a:pt x="117" y="117"/>
                    </a:cubicBezTo>
                    <a:cubicBezTo>
                      <a:pt x="117" y="59"/>
                      <a:pt x="117" y="59"/>
                      <a:pt x="117" y="59"/>
                    </a:cubicBezTo>
                    <a:cubicBezTo>
                      <a:pt x="52" y="59"/>
                      <a:pt x="52" y="59"/>
                      <a:pt x="52" y="59"/>
                    </a:cubicBezTo>
                    <a:cubicBezTo>
                      <a:pt x="52" y="59"/>
                      <a:pt x="52" y="59"/>
                      <a:pt x="52" y="59"/>
                    </a:cubicBezTo>
                    <a:close/>
                    <a:moveTo>
                      <a:pt x="50" y="59"/>
                    </a:moveTo>
                    <a:cubicBezTo>
                      <a:pt x="0" y="59"/>
                      <a:pt x="0" y="59"/>
                      <a:pt x="0" y="59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59"/>
                      <a:pt x="50" y="59"/>
                      <a:pt x="50" y="59"/>
                    </a:cubicBezTo>
                    <a:cubicBezTo>
                      <a:pt x="50" y="59"/>
                      <a:pt x="50" y="59"/>
                      <a:pt x="50" y="5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9945" tIns="34973" rIns="69945" bIns="34973" numCol="1" anchor="t" anchorCtr="0" compatLnSpc="1">
                <a:prstTxWarp prst="textNoShape">
                  <a:avLst/>
                </a:prstTxWarp>
              </a:bodyPr>
              <a:lstStyle/>
              <a:p>
                <a:pPr defTabSz="932021">
                  <a:defRPr/>
                </a:pPr>
                <a:endParaRPr lang="en-US" sz="1500" kern="0" dirty="0">
                  <a:solidFill>
                    <a:srgbClr val="000000"/>
                  </a:solidFill>
                  <a:ea typeface="ＭＳ Ｐゴシック" charset="0"/>
                </a:endParaRPr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10735723" y="4538493"/>
              <a:ext cx="274320" cy="365760"/>
              <a:chOff x="6736679" y="2354262"/>
              <a:chExt cx="368213" cy="535881"/>
            </a:xfrm>
          </p:grpSpPr>
          <p:sp>
            <p:nvSpPr>
              <p:cNvPr id="27" name="Freeform 45"/>
              <p:cNvSpPr>
                <a:spLocks noEditPoints="1"/>
              </p:cNvSpPr>
              <p:nvPr/>
            </p:nvSpPr>
            <p:spPr bwMode="auto">
              <a:xfrm>
                <a:off x="6737232" y="2354262"/>
                <a:ext cx="367660" cy="535881"/>
              </a:xfrm>
              <a:custGeom>
                <a:avLst/>
                <a:gdLst>
                  <a:gd name="T0" fmla="*/ 427 w 463"/>
                  <a:gd name="T1" fmla="*/ 0 h 773"/>
                  <a:gd name="T2" fmla="*/ 42 w 463"/>
                  <a:gd name="T3" fmla="*/ 0 h 773"/>
                  <a:gd name="T4" fmla="*/ 0 w 463"/>
                  <a:gd name="T5" fmla="*/ 35 h 773"/>
                  <a:gd name="T6" fmla="*/ 0 w 463"/>
                  <a:gd name="T7" fmla="*/ 733 h 773"/>
                  <a:gd name="T8" fmla="*/ 42 w 463"/>
                  <a:gd name="T9" fmla="*/ 773 h 773"/>
                  <a:gd name="T10" fmla="*/ 427 w 463"/>
                  <a:gd name="T11" fmla="*/ 773 h 773"/>
                  <a:gd name="T12" fmla="*/ 463 w 463"/>
                  <a:gd name="T13" fmla="*/ 733 h 773"/>
                  <a:gd name="T14" fmla="*/ 463 w 463"/>
                  <a:gd name="T15" fmla="*/ 35 h 773"/>
                  <a:gd name="T16" fmla="*/ 427 w 463"/>
                  <a:gd name="T17" fmla="*/ 0 h 773"/>
                  <a:gd name="T18" fmla="*/ 152 w 463"/>
                  <a:gd name="T19" fmla="*/ 730 h 773"/>
                  <a:gd name="T20" fmla="*/ 139 w 463"/>
                  <a:gd name="T21" fmla="*/ 743 h 773"/>
                  <a:gd name="T22" fmla="*/ 112 w 463"/>
                  <a:gd name="T23" fmla="*/ 743 h 773"/>
                  <a:gd name="T24" fmla="*/ 99 w 463"/>
                  <a:gd name="T25" fmla="*/ 730 h 773"/>
                  <a:gd name="T26" fmla="*/ 99 w 463"/>
                  <a:gd name="T27" fmla="*/ 722 h 773"/>
                  <a:gd name="T28" fmla="*/ 112 w 463"/>
                  <a:gd name="T29" fmla="*/ 709 h 773"/>
                  <a:gd name="T30" fmla="*/ 139 w 463"/>
                  <a:gd name="T31" fmla="*/ 709 h 773"/>
                  <a:gd name="T32" fmla="*/ 152 w 463"/>
                  <a:gd name="T33" fmla="*/ 722 h 773"/>
                  <a:gd name="T34" fmla="*/ 152 w 463"/>
                  <a:gd name="T35" fmla="*/ 730 h 773"/>
                  <a:gd name="T36" fmla="*/ 263 w 463"/>
                  <a:gd name="T37" fmla="*/ 724 h 773"/>
                  <a:gd name="T38" fmla="*/ 247 w 463"/>
                  <a:gd name="T39" fmla="*/ 743 h 773"/>
                  <a:gd name="T40" fmla="*/ 219 w 463"/>
                  <a:gd name="T41" fmla="*/ 743 h 773"/>
                  <a:gd name="T42" fmla="*/ 202 w 463"/>
                  <a:gd name="T43" fmla="*/ 724 h 773"/>
                  <a:gd name="T44" fmla="*/ 202 w 463"/>
                  <a:gd name="T45" fmla="*/ 716 h 773"/>
                  <a:gd name="T46" fmla="*/ 219 w 463"/>
                  <a:gd name="T47" fmla="*/ 699 h 773"/>
                  <a:gd name="T48" fmla="*/ 247 w 463"/>
                  <a:gd name="T49" fmla="*/ 699 h 773"/>
                  <a:gd name="T50" fmla="*/ 263 w 463"/>
                  <a:gd name="T51" fmla="*/ 716 h 773"/>
                  <a:gd name="T52" fmla="*/ 263 w 463"/>
                  <a:gd name="T53" fmla="*/ 724 h 773"/>
                  <a:gd name="T54" fmla="*/ 366 w 463"/>
                  <a:gd name="T55" fmla="*/ 730 h 773"/>
                  <a:gd name="T56" fmla="*/ 354 w 463"/>
                  <a:gd name="T57" fmla="*/ 743 h 773"/>
                  <a:gd name="T58" fmla="*/ 326 w 463"/>
                  <a:gd name="T59" fmla="*/ 743 h 773"/>
                  <a:gd name="T60" fmla="*/ 314 w 463"/>
                  <a:gd name="T61" fmla="*/ 730 h 773"/>
                  <a:gd name="T62" fmla="*/ 314 w 463"/>
                  <a:gd name="T63" fmla="*/ 722 h 773"/>
                  <a:gd name="T64" fmla="*/ 326 w 463"/>
                  <a:gd name="T65" fmla="*/ 709 h 773"/>
                  <a:gd name="T66" fmla="*/ 354 w 463"/>
                  <a:gd name="T67" fmla="*/ 709 h 773"/>
                  <a:gd name="T68" fmla="*/ 366 w 463"/>
                  <a:gd name="T69" fmla="*/ 722 h 773"/>
                  <a:gd name="T70" fmla="*/ 366 w 463"/>
                  <a:gd name="T71" fmla="*/ 730 h 773"/>
                  <a:gd name="T72" fmla="*/ 417 w 463"/>
                  <a:gd name="T73" fmla="*/ 644 h 773"/>
                  <a:gd name="T74" fmla="*/ 394 w 463"/>
                  <a:gd name="T75" fmla="*/ 671 h 773"/>
                  <a:gd name="T76" fmla="*/ 74 w 463"/>
                  <a:gd name="T77" fmla="*/ 671 h 773"/>
                  <a:gd name="T78" fmla="*/ 49 w 463"/>
                  <a:gd name="T79" fmla="*/ 644 h 773"/>
                  <a:gd name="T80" fmla="*/ 49 w 463"/>
                  <a:gd name="T81" fmla="*/ 67 h 773"/>
                  <a:gd name="T82" fmla="*/ 74 w 463"/>
                  <a:gd name="T83" fmla="*/ 46 h 773"/>
                  <a:gd name="T84" fmla="*/ 394 w 463"/>
                  <a:gd name="T85" fmla="*/ 46 h 773"/>
                  <a:gd name="T86" fmla="*/ 417 w 463"/>
                  <a:gd name="T87" fmla="*/ 67 h 773"/>
                  <a:gd name="T88" fmla="*/ 417 w 463"/>
                  <a:gd name="T89" fmla="*/ 644 h 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63" h="773">
                    <a:moveTo>
                      <a:pt x="427" y="0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19" y="0"/>
                      <a:pt x="0" y="17"/>
                      <a:pt x="0" y="35"/>
                    </a:cubicBezTo>
                    <a:cubicBezTo>
                      <a:pt x="0" y="733"/>
                      <a:pt x="0" y="733"/>
                      <a:pt x="0" y="733"/>
                    </a:cubicBezTo>
                    <a:cubicBezTo>
                      <a:pt x="0" y="756"/>
                      <a:pt x="17" y="773"/>
                      <a:pt x="42" y="773"/>
                    </a:cubicBezTo>
                    <a:cubicBezTo>
                      <a:pt x="427" y="773"/>
                      <a:pt x="427" y="773"/>
                      <a:pt x="427" y="773"/>
                    </a:cubicBezTo>
                    <a:cubicBezTo>
                      <a:pt x="448" y="773"/>
                      <a:pt x="463" y="756"/>
                      <a:pt x="463" y="733"/>
                    </a:cubicBezTo>
                    <a:cubicBezTo>
                      <a:pt x="463" y="35"/>
                      <a:pt x="463" y="35"/>
                      <a:pt x="463" y="35"/>
                    </a:cubicBezTo>
                    <a:cubicBezTo>
                      <a:pt x="463" y="19"/>
                      <a:pt x="451" y="0"/>
                      <a:pt x="427" y="0"/>
                    </a:cubicBezTo>
                    <a:close/>
                    <a:moveTo>
                      <a:pt x="152" y="730"/>
                    </a:moveTo>
                    <a:cubicBezTo>
                      <a:pt x="152" y="737"/>
                      <a:pt x="146" y="743"/>
                      <a:pt x="139" y="743"/>
                    </a:cubicBezTo>
                    <a:cubicBezTo>
                      <a:pt x="112" y="743"/>
                      <a:pt x="112" y="743"/>
                      <a:pt x="112" y="743"/>
                    </a:cubicBezTo>
                    <a:cubicBezTo>
                      <a:pt x="106" y="743"/>
                      <a:pt x="99" y="737"/>
                      <a:pt x="99" y="730"/>
                    </a:cubicBezTo>
                    <a:cubicBezTo>
                      <a:pt x="99" y="722"/>
                      <a:pt x="99" y="722"/>
                      <a:pt x="99" y="722"/>
                    </a:cubicBezTo>
                    <a:cubicBezTo>
                      <a:pt x="99" y="714"/>
                      <a:pt x="106" y="709"/>
                      <a:pt x="112" y="709"/>
                    </a:cubicBezTo>
                    <a:cubicBezTo>
                      <a:pt x="139" y="709"/>
                      <a:pt x="139" y="709"/>
                      <a:pt x="139" y="709"/>
                    </a:cubicBezTo>
                    <a:cubicBezTo>
                      <a:pt x="146" y="709"/>
                      <a:pt x="152" y="714"/>
                      <a:pt x="152" y="722"/>
                    </a:cubicBezTo>
                    <a:cubicBezTo>
                      <a:pt x="152" y="730"/>
                      <a:pt x="152" y="730"/>
                      <a:pt x="152" y="730"/>
                    </a:cubicBezTo>
                    <a:close/>
                    <a:moveTo>
                      <a:pt x="263" y="724"/>
                    </a:moveTo>
                    <a:cubicBezTo>
                      <a:pt x="263" y="735"/>
                      <a:pt x="255" y="743"/>
                      <a:pt x="247" y="743"/>
                    </a:cubicBezTo>
                    <a:cubicBezTo>
                      <a:pt x="219" y="743"/>
                      <a:pt x="219" y="743"/>
                      <a:pt x="219" y="743"/>
                    </a:cubicBezTo>
                    <a:cubicBezTo>
                      <a:pt x="211" y="743"/>
                      <a:pt x="202" y="735"/>
                      <a:pt x="202" y="724"/>
                    </a:cubicBezTo>
                    <a:cubicBezTo>
                      <a:pt x="202" y="716"/>
                      <a:pt x="202" y="716"/>
                      <a:pt x="202" y="716"/>
                    </a:cubicBezTo>
                    <a:cubicBezTo>
                      <a:pt x="202" y="705"/>
                      <a:pt x="209" y="699"/>
                      <a:pt x="219" y="699"/>
                    </a:cubicBezTo>
                    <a:cubicBezTo>
                      <a:pt x="247" y="699"/>
                      <a:pt x="247" y="699"/>
                      <a:pt x="247" y="699"/>
                    </a:cubicBezTo>
                    <a:cubicBezTo>
                      <a:pt x="255" y="699"/>
                      <a:pt x="263" y="705"/>
                      <a:pt x="263" y="716"/>
                    </a:cubicBezTo>
                    <a:cubicBezTo>
                      <a:pt x="263" y="724"/>
                      <a:pt x="263" y="724"/>
                      <a:pt x="263" y="724"/>
                    </a:cubicBezTo>
                    <a:close/>
                    <a:moveTo>
                      <a:pt x="366" y="730"/>
                    </a:moveTo>
                    <a:cubicBezTo>
                      <a:pt x="366" y="737"/>
                      <a:pt x="360" y="743"/>
                      <a:pt x="354" y="743"/>
                    </a:cubicBezTo>
                    <a:cubicBezTo>
                      <a:pt x="326" y="743"/>
                      <a:pt x="326" y="743"/>
                      <a:pt x="326" y="743"/>
                    </a:cubicBezTo>
                    <a:cubicBezTo>
                      <a:pt x="320" y="743"/>
                      <a:pt x="314" y="737"/>
                      <a:pt x="314" y="730"/>
                    </a:cubicBezTo>
                    <a:cubicBezTo>
                      <a:pt x="314" y="722"/>
                      <a:pt x="314" y="722"/>
                      <a:pt x="314" y="722"/>
                    </a:cubicBezTo>
                    <a:cubicBezTo>
                      <a:pt x="314" y="714"/>
                      <a:pt x="320" y="709"/>
                      <a:pt x="326" y="709"/>
                    </a:cubicBezTo>
                    <a:cubicBezTo>
                      <a:pt x="354" y="709"/>
                      <a:pt x="354" y="709"/>
                      <a:pt x="354" y="709"/>
                    </a:cubicBezTo>
                    <a:cubicBezTo>
                      <a:pt x="360" y="709"/>
                      <a:pt x="366" y="714"/>
                      <a:pt x="366" y="722"/>
                    </a:cubicBezTo>
                    <a:cubicBezTo>
                      <a:pt x="366" y="730"/>
                      <a:pt x="366" y="730"/>
                      <a:pt x="366" y="730"/>
                    </a:cubicBezTo>
                    <a:close/>
                    <a:moveTo>
                      <a:pt x="417" y="644"/>
                    </a:moveTo>
                    <a:cubicBezTo>
                      <a:pt x="417" y="657"/>
                      <a:pt x="409" y="671"/>
                      <a:pt x="394" y="671"/>
                    </a:cubicBezTo>
                    <a:cubicBezTo>
                      <a:pt x="74" y="671"/>
                      <a:pt x="74" y="671"/>
                      <a:pt x="74" y="671"/>
                    </a:cubicBezTo>
                    <a:cubicBezTo>
                      <a:pt x="59" y="671"/>
                      <a:pt x="49" y="659"/>
                      <a:pt x="49" y="644"/>
                    </a:cubicBezTo>
                    <a:cubicBezTo>
                      <a:pt x="49" y="67"/>
                      <a:pt x="49" y="67"/>
                      <a:pt x="49" y="67"/>
                    </a:cubicBezTo>
                    <a:cubicBezTo>
                      <a:pt x="49" y="50"/>
                      <a:pt x="61" y="46"/>
                      <a:pt x="74" y="46"/>
                    </a:cubicBezTo>
                    <a:cubicBezTo>
                      <a:pt x="394" y="46"/>
                      <a:pt x="394" y="46"/>
                      <a:pt x="394" y="46"/>
                    </a:cubicBezTo>
                    <a:cubicBezTo>
                      <a:pt x="404" y="46"/>
                      <a:pt x="417" y="48"/>
                      <a:pt x="417" y="67"/>
                    </a:cubicBezTo>
                    <a:cubicBezTo>
                      <a:pt x="417" y="644"/>
                      <a:pt x="417" y="644"/>
                      <a:pt x="417" y="6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12676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100" kern="0" dirty="0">
                  <a:solidFill>
                    <a:srgbClr val="505050"/>
                  </a:solidFill>
                  <a:ea typeface="ＭＳ Ｐゴシック" charset="0"/>
                </a:endParaRPr>
              </a:p>
            </p:txBody>
          </p:sp>
          <p:pic>
            <p:nvPicPr>
              <p:cNvPr id="28" name="Picture 38" descr="http://dev.voxmobile.com/wp-content/uploads/2011/03/android_logo.png">
                <a:hlinkClick r:id="rId4"/>
              </p:cNvPr>
              <p:cNvPicPr>
                <a:picLocks noChangeArrowheads="1"/>
              </p:cNvPicPr>
              <p:nvPr/>
            </p:nvPicPr>
            <p:blipFill rotWithShape="1">
              <a:blip r:embed="rId5" cstate="print">
                <a:biLevel thresh="50000"/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/>
            </p:blipFill>
            <p:spPr bwMode="auto">
              <a:xfrm>
                <a:off x="6736679" y="2509143"/>
                <a:ext cx="32238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0" name="组合 77"/>
            <p:cNvGrpSpPr/>
            <p:nvPr/>
          </p:nvGrpSpPr>
          <p:grpSpPr>
            <a:xfrm>
              <a:off x="9287923" y="4570179"/>
              <a:ext cx="457200" cy="304800"/>
              <a:chOff x="7477931" y="2571860"/>
              <a:chExt cx="577363" cy="414054"/>
            </a:xfrm>
          </p:grpSpPr>
          <p:sp>
            <p:nvSpPr>
              <p:cNvPr id="25" name="Rounded Rectangle 6"/>
              <p:cNvSpPr/>
              <p:nvPr/>
            </p:nvSpPr>
            <p:spPr bwMode="black">
              <a:xfrm rot="16200000">
                <a:off x="7559586" y="2490205"/>
                <a:ext cx="414054" cy="577363"/>
              </a:xfrm>
              <a:custGeom>
                <a:avLst/>
                <a:gdLst/>
                <a:ahLst/>
                <a:cxnLst/>
                <a:rect l="l" t="t" r="r" b="b"/>
                <a:pathLst>
                  <a:path w="3286897" h="4658497">
                    <a:moveTo>
                      <a:pt x="1600200" y="4382531"/>
                    </a:moveTo>
                    <a:cubicBezTo>
                      <a:pt x="1600200" y="4367744"/>
                      <a:pt x="1588213" y="4355757"/>
                      <a:pt x="1573426" y="4355757"/>
                    </a:cubicBezTo>
                    <a:lnTo>
                      <a:pt x="811428" y="4355757"/>
                    </a:lnTo>
                    <a:cubicBezTo>
                      <a:pt x="796641" y="4355757"/>
                      <a:pt x="784654" y="4367744"/>
                      <a:pt x="784654" y="4382531"/>
                    </a:cubicBezTo>
                    <a:lnTo>
                      <a:pt x="784654" y="4489621"/>
                    </a:lnTo>
                    <a:cubicBezTo>
                      <a:pt x="784654" y="4504408"/>
                      <a:pt x="796641" y="4516395"/>
                      <a:pt x="811428" y="4516395"/>
                    </a:cubicBezTo>
                    <a:lnTo>
                      <a:pt x="1573426" y="4516395"/>
                    </a:lnTo>
                    <a:cubicBezTo>
                      <a:pt x="1588213" y="4516395"/>
                      <a:pt x="1600200" y="4504408"/>
                      <a:pt x="1600200" y="4489621"/>
                    </a:cubicBezTo>
                    <a:close/>
                    <a:moveTo>
                      <a:pt x="2502243" y="4382531"/>
                    </a:moveTo>
                    <a:cubicBezTo>
                      <a:pt x="2502243" y="4367744"/>
                      <a:pt x="2490256" y="4355757"/>
                      <a:pt x="2475469" y="4355757"/>
                    </a:cubicBezTo>
                    <a:lnTo>
                      <a:pt x="1713471" y="4355757"/>
                    </a:lnTo>
                    <a:cubicBezTo>
                      <a:pt x="1698684" y="4355757"/>
                      <a:pt x="1686697" y="4367744"/>
                      <a:pt x="1686697" y="4382531"/>
                    </a:cubicBezTo>
                    <a:lnTo>
                      <a:pt x="1686697" y="4489621"/>
                    </a:lnTo>
                    <a:cubicBezTo>
                      <a:pt x="1686697" y="4504408"/>
                      <a:pt x="1698684" y="4516395"/>
                      <a:pt x="1713471" y="4516395"/>
                    </a:cubicBezTo>
                    <a:lnTo>
                      <a:pt x="2475469" y="4516395"/>
                    </a:lnTo>
                    <a:cubicBezTo>
                      <a:pt x="2490256" y="4516395"/>
                      <a:pt x="2502243" y="4504408"/>
                      <a:pt x="2502243" y="4489621"/>
                    </a:cubicBezTo>
                    <a:close/>
                    <a:moveTo>
                      <a:pt x="3021231" y="480896"/>
                    </a:moveTo>
                    <a:cubicBezTo>
                      <a:pt x="3021231" y="375524"/>
                      <a:pt x="2935811" y="290104"/>
                      <a:pt x="2830439" y="290104"/>
                    </a:cubicBezTo>
                    <a:lnTo>
                      <a:pt x="444108" y="290104"/>
                    </a:lnTo>
                    <a:cubicBezTo>
                      <a:pt x="338736" y="290104"/>
                      <a:pt x="253316" y="375524"/>
                      <a:pt x="253316" y="480896"/>
                    </a:cubicBezTo>
                    <a:lnTo>
                      <a:pt x="253316" y="4029043"/>
                    </a:lnTo>
                    <a:cubicBezTo>
                      <a:pt x="253316" y="4134415"/>
                      <a:pt x="338736" y="4219835"/>
                      <a:pt x="444108" y="4219835"/>
                    </a:cubicBezTo>
                    <a:lnTo>
                      <a:pt x="2830439" y="4219835"/>
                    </a:lnTo>
                    <a:cubicBezTo>
                      <a:pt x="2935811" y="4219835"/>
                      <a:pt x="3021231" y="4134415"/>
                      <a:pt x="3021231" y="4029043"/>
                    </a:cubicBezTo>
                    <a:close/>
                    <a:moveTo>
                      <a:pt x="3286897" y="226566"/>
                    </a:moveTo>
                    <a:lnTo>
                      <a:pt x="3286897" y="4431931"/>
                    </a:lnTo>
                    <a:cubicBezTo>
                      <a:pt x="3286897" y="4557060"/>
                      <a:pt x="3185460" y="4658497"/>
                      <a:pt x="3060331" y="4658497"/>
                    </a:cubicBezTo>
                    <a:lnTo>
                      <a:pt x="226566" y="4658497"/>
                    </a:lnTo>
                    <a:cubicBezTo>
                      <a:pt x="101437" y="4658497"/>
                      <a:pt x="0" y="4557060"/>
                      <a:pt x="0" y="4431931"/>
                    </a:cubicBezTo>
                    <a:lnTo>
                      <a:pt x="0" y="226566"/>
                    </a:lnTo>
                    <a:cubicBezTo>
                      <a:pt x="0" y="101437"/>
                      <a:pt x="101437" y="0"/>
                      <a:pt x="226566" y="0"/>
                    </a:cubicBezTo>
                    <a:lnTo>
                      <a:pt x="3060331" y="0"/>
                    </a:lnTo>
                    <a:cubicBezTo>
                      <a:pt x="3185460" y="0"/>
                      <a:pt x="3286897" y="101437"/>
                      <a:pt x="3286897" y="226566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79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31465" rIns="62932" bIns="31465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755047">
                  <a:defRPr/>
                </a:pPr>
                <a:endParaRPr lang="en-US" sz="1500" kern="0" spc="-125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  <p:pic>
            <p:nvPicPr>
              <p:cNvPr id="26" name="Picture 39"/>
              <p:cNvPicPr>
                <a:picLocks noChangeAspect="1"/>
              </p:cNvPicPr>
              <p:nvPr/>
            </p:nvPicPr>
            <p:blipFill>
              <a:blip r:embed="rId6" cstate="print">
                <a:lum bright="70000" contrast="-70000"/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7697536" y="2689417"/>
                <a:ext cx="133010" cy="164185"/>
              </a:xfrm>
              <a:prstGeom prst="rect">
                <a:avLst/>
              </a:prstGeom>
            </p:spPr>
          </p:pic>
        </p:grpSp>
        <p:grpSp>
          <p:nvGrpSpPr>
            <p:cNvPr id="21" name="组合 20"/>
            <p:cNvGrpSpPr/>
            <p:nvPr/>
          </p:nvGrpSpPr>
          <p:grpSpPr>
            <a:xfrm>
              <a:off x="10058750" y="4565925"/>
              <a:ext cx="274320" cy="365760"/>
              <a:chOff x="6338091" y="2354262"/>
              <a:chExt cx="367660" cy="535881"/>
            </a:xfrm>
          </p:grpSpPr>
          <p:sp>
            <p:nvSpPr>
              <p:cNvPr id="23" name="Freeform 45"/>
              <p:cNvSpPr>
                <a:spLocks noEditPoints="1"/>
              </p:cNvSpPr>
              <p:nvPr/>
            </p:nvSpPr>
            <p:spPr bwMode="auto">
              <a:xfrm>
                <a:off x="6338091" y="2354262"/>
                <a:ext cx="367660" cy="535881"/>
              </a:xfrm>
              <a:custGeom>
                <a:avLst/>
                <a:gdLst>
                  <a:gd name="T0" fmla="*/ 427 w 463"/>
                  <a:gd name="T1" fmla="*/ 0 h 773"/>
                  <a:gd name="T2" fmla="*/ 42 w 463"/>
                  <a:gd name="T3" fmla="*/ 0 h 773"/>
                  <a:gd name="T4" fmla="*/ 0 w 463"/>
                  <a:gd name="T5" fmla="*/ 35 h 773"/>
                  <a:gd name="T6" fmla="*/ 0 w 463"/>
                  <a:gd name="T7" fmla="*/ 733 h 773"/>
                  <a:gd name="T8" fmla="*/ 42 w 463"/>
                  <a:gd name="T9" fmla="*/ 773 h 773"/>
                  <a:gd name="T10" fmla="*/ 427 w 463"/>
                  <a:gd name="T11" fmla="*/ 773 h 773"/>
                  <a:gd name="T12" fmla="*/ 463 w 463"/>
                  <a:gd name="T13" fmla="*/ 733 h 773"/>
                  <a:gd name="T14" fmla="*/ 463 w 463"/>
                  <a:gd name="T15" fmla="*/ 35 h 773"/>
                  <a:gd name="T16" fmla="*/ 427 w 463"/>
                  <a:gd name="T17" fmla="*/ 0 h 773"/>
                  <a:gd name="T18" fmla="*/ 152 w 463"/>
                  <a:gd name="T19" fmla="*/ 730 h 773"/>
                  <a:gd name="T20" fmla="*/ 139 w 463"/>
                  <a:gd name="T21" fmla="*/ 743 h 773"/>
                  <a:gd name="T22" fmla="*/ 112 w 463"/>
                  <a:gd name="T23" fmla="*/ 743 h 773"/>
                  <a:gd name="T24" fmla="*/ 99 w 463"/>
                  <a:gd name="T25" fmla="*/ 730 h 773"/>
                  <a:gd name="T26" fmla="*/ 99 w 463"/>
                  <a:gd name="T27" fmla="*/ 722 h 773"/>
                  <a:gd name="T28" fmla="*/ 112 w 463"/>
                  <a:gd name="T29" fmla="*/ 709 h 773"/>
                  <a:gd name="T30" fmla="*/ 139 w 463"/>
                  <a:gd name="T31" fmla="*/ 709 h 773"/>
                  <a:gd name="T32" fmla="*/ 152 w 463"/>
                  <a:gd name="T33" fmla="*/ 722 h 773"/>
                  <a:gd name="T34" fmla="*/ 152 w 463"/>
                  <a:gd name="T35" fmla="*/ 730 h 773"/>
                  <a:gd name="T36" fmla="*/ 263 w 463"/>
                  <a:gd name="T37" fmla="*/ 724 h 773"/>
                  <a:gd name="T38" fmla="*/ 247 w 463"/>
                  <a:gd name="T39" fmla="*/ 743 h 773"/>
                  <a:gd name="T40" fmla="*/ 219 w 463"/>
                  <a:gd name="T41" fmla="*/ 743 h 773"/>
                  <a:gd name="T42" fmla="*/ 202 w 463"/>
                  <a:gd name="T43" fmla="*/ 724 h 773"/>
                  <a:gd name="T44" fmla="*/ 202 w 463"/>
                  <a:gd name="T45" fmla="*/ 716 h 773"/>
                  <a:gd name="T46" fmla="*/ 219 w 463"/>
                  <a:gd name="T47" fmla="*/ 699 h 773"/>
                  <a:gd name="T48" fmla="*/ 247 w 463"/>
                  <a:gd name="T49" fmla="*/ 699 h 773"/>
                  <a:gd name="T50" fmla="*/ 263 w 463"/>
                  <a:gd name="T51" fmla="*/ 716 h 773"/>
                  <a:gd name="T52" fmla="*/ 263 w 463"/>
                  <a:gd name="T53" fmla="*/ 724 h 773"/>
                  <a:gd name="T54" fmla="*/ 366 w 463"/>
                  <a:gd name="T55" fmla="*/ 730 h 773"/>
                  <a:gd name="T56" fmla="*/ 354 w 463"/>
                  <a:gd name="T57" fmla="*/ 743 h 773"/>
                  <a:gd name="T58" fmla="*/ 326 w 463"/>
                  <a:gd name="T59" fmla="*/ 743 h 773"/>
                  <a:gd name="T60" fmla="*/ 314 w 463"/>
                  <a:gd name="T61" fmla="*/ 730 h 773"/>
                  <a:gd name="T62" fmla="*/ 314 w 463"/>
                  <a:gd name="T63" fmla="*/ 722 h 773"/>
                  <a:gd name="T64" fmla="*/ 326 w 463"/>
                  <a:gd name="T65" fmla="*/ 709 h 773"/>
                  <a:gd name="T66" fmla="*/ 354 w 463"/>
                  <a:gd name="T67" fmla="*/ 709 h 773"/>
                  <a:gd name="T68" fmla="*/ 366 w 463"/>
                  <a:gd name="T69" fmla="*/ 722 h 773"/>
                  <a:gd name="T70" fmla="*/ 366 w 463"/>
                  <a:gd name="T71" fmla="*/ 730 h 773"/>
                  <a:gd name="T72" fmla="*/ 417 w 463"/>
                  <a:gd name="T73" fmla="*/ 644 h 773"/>
                  <a:gd name="T74" fmla="*/ 394 w 463"/>
                  <a:gd name="T75" fmla="*/ 671 h 773"/>
                  <a:gd name="T76" fmla="*/ 74 w 463"/>
                  <a:gd name="T77" fmla="*/ 671 h 773"/>
                  <a:gd name="T78" fmla="*/ 49 w 463"/>
                  <a:gd name="T79" fmla="*/ 644 h 773"/>
                  <a:gd name="T80" fmla="*/ 49 w 463"/>
                  <a:gd name="T81" fmla="*/ 67 h 773"/>
                  <a:gd name="T82" fmla="*/ 74 w 463"/>
                  <a:gd name="T83" fmla="*/ 46 h 773"/>
                  <a:gd name="T84" fmla="*/ 394 w 463"/>
                  <a:gd name="T85" fmla="*/ 46 h 773"/>
                  <a:gd name="T86" fmla="*/ 417 w 463"/>
                  <a:gd name="T87" fmla="*/ 67 h 773"/>
                  <a:gd name="T88" fmla="*/ 417 w 463"/>
                  <a:gd name="T89" fmla="*/ 644 h 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63" h="773">
                    <a:moveTo>
                      <a:pt x="427" y="0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19" y="0"/>
                      <a:pt x="0" y="17"/>
                      <a:pt x="0" y="35"/>
                    </a:cubicBezTo>
                    <a:cubicBezTo>
                      <a:pt x="0" y="733"/>
                      <a:pt x="0" y="733"/>
                      <a:pt x="0" y="733"/>
                    </a:cubicBezTo>
                    <a:cubicBezTo>
                      <a:pt x="0" y="756"/>
                      <a:pt x="17" y="773"/>
                      <a:pt x="42" y="773"/>
                    </a:cubicBezTo>
                    <a:cubicBezTo>
                      <a:pt x="427" y="773"/>
                      <a:pt x="427" y="773"/>
                      <a:pt x="427" y="773"/>
                    </a:cubicBezTo>
                    <a:cubicBezTo>
                      <a:pt x="448" y="773"/>
                      <a:pt x="463" y="756"/>
                      <a:pt x="463" y="733"/>
                    </a:cubicBezTo>
                    <a:cubicBezTo>
                      <a:pt x="463" y="35"/>
                      <a:pt x="463" y="35"/>
                      <a:pt x="463" y="35"/>
                    </a:cubicBezTo>
                    <a:cubicBezTo>
                      <a:pt x="463" y="19"/>
                      <a:pt x="451" y="0"/>
                      <a:pt x="427" y="0"/>
                    </a:cubicBezTo>
                    <a:close/>
                    <a:moveTo>
                      <a:pt x="152" y="730"/>
                    </a:moveTo>
                    <a:cubicBezTo>
                      <a:pt x="152" y="737"/>
                      <a:pt x="146" y="743"/>
                      <a:pt x="139" y="743"/>
                    </a:cubicBezTo>
                    <a:cubicBezTo>
                      <a:pt x="112" y="743"/>
                      <a:pt x="112" y="743"/>
                      <a:pt x="112" y="743"/>
                    </a:cubicBezTo>
                    <a:cubicBezTo>
                      <a:pt x="106" y="743"/>
                      <a:pt x="99" y="737"/>
                      <a:pt x="99" y="730"/>
                    </a:cubicBezTo>
                    <a:cubicBezTo>
                      <a:pt x="99" y="722"/>
                      <a:pt x="99" y="722"/>
                      <a:pt x="99" y="722"/>
                    </a:cubicBezTo>
                    <a:cubicBezTo>
                      <a:pt x="99" y="714"/>
                      <a:pt x="106" y="709"/>
                      <a:pt x="112" y="709"/>
                    </a:cubicBezTo>
                    <a:cubicBezTo>
                      <a:pt x="139" y="709"/>
                      <a:pt x="139" y="709"/>
                      <a:pt x="139" y="709"/>
                    </a:cubicBezTo>
                    <a:cubicBezTo>
                      <a:pt x="146" y="709"/>
                      <a:pt x="152" y="714"/>
                      <a:pt x="152" y="722"/>
                    </a:cubicBezTo>
                    <a:cubicBezTo>
                      <a:pt x="152" y="730"/>
                      <a:pt x="152" y="730"/>
                      <a:pt x="152" y="730"/>
                    </a:cubicBezTo>
                    <a:close/>
                    <a:moveTo>
                      <a:pt x="263" y="724"/>
                    </a:moveTo>
                    <a:cubicBezTo>
                      <a:pt x="263" y="735"/>
                      <a:pt x="255" y="743"/>
                      <a:pt x="247" y="743"/>
                    </a:cubicBezTo>
                    <a:cubicBezTo>
                      <a:pt x="219" y="743"/>
                      <a:pt x="219" y="743"/>
                      <a:pt x="219" y="743"/>
                    </a:cubicBezTo>
                    <a:cubicBezTo>
                      <a:pt x="211" y="743"/>
                      <a:pt x="202" y="735"/>
                      <a:pt x="202" y="724"/>
                    </a:cubicBezTo>
                    <a:cubicBezTo>
                      <a:pt x="202" y="716"/>
                      <a:pt x="202" y="716"/>
                      <a:pt x="202" y="716"/>
                    </a:cubicBezTo>
                    <a:cubicBezTo>
                      <a:pt x="202" y="705"/>
                      <a:pt x="209" y="699"/>
                      <a:pt x="219" y="699"/>
                    </a:cubicBezTo>
                    <a:cubicBezTo>
                      <a:pt x="247" y="699"/>
                      <a:pt x="247" y="699"/>
                      <a:pt x="247" y="699"/>
                    </a:cubicBezTo>
                    <a:cubicBezTo>
                      <a:pt x="255" y="699"/>
                      <a:pt x="263" y="705"/>
                      <a:pt x="263" y="716"/>
                    </a:cubicBezTo>
                    <a:cubicBezTo>
                      <a:pt x="263" y="724"/>
                      <a:pt x="263" y="724"/>
                      <a:pt x="263" y="724"/>
                    </a:cubicBezTo>
                    <a:close/>
                    <a:moveTo>
                      <a:pt x="366" y="730"/>
                    </a:moveTo>
                    <a:cubicBezTo>
                      <a:pt x="366" y="737"/>
                      <a:pt x="360" y="743"/>
                      <a:pt x="354" y="743"/>
                    </a:cubicBezTo>
                    <a:cubicBezTo>
                      <a:pt x="326" y="743"/>
                      <a:pt x="326" y="743"/>
                      <a:pt x="326" y="743"/>
                    </a:cubicBezTo>
                    <a:cubicBezTo>
                      <a:pt x="320" y="743"/>
                      <a:pt x="314" y="737"/>
                      <a:pt x="314" y="730"/>
                    </a:cubicBezTo>
                    <a:cubicBezTo>
                      <a:pt x="314" y="722"/>
                      <a:pt x="314" y="722"/>
                      <a:pt x="314" y="722"/>
                    </a:cubicBezTo>
                    <a:cubicBezTo>
                      <a:pt x="314" y="714"/>
                      <a:pt x="320" y="709"/>
                      <a:pt x="326" y="709"/>
                    </a:cubicBezTo>
                    <a:cubicBezTo>
                      <a:pt x="354" y="709"/>
                      <a:pt x="354" y="709"/>
                      <a:pt x="354" y="709"/>
                    </a:cubicBezTo>
                    <a:cubicBezTo>
                      <a:pt x="360" y="709"/>
                      <a:pt x="366" y="714"/>
                      <a:pt x="366" y="722"/>
                    </a:cubicBezTo>
                    <a:cubicBezTo>
                      <a:pt x="366" y="730"/>
                      <a:pt x="366" y="730"/>
                      <a:pt x="366" y="730"/>
                    </a:cubicBezTo>
                    <a:close/>
                    <a:moveTo>
                      <a:pt x="417" y="644"/>
                    </a:moveTo>
                    <a:cubicBezTo>
                      <a:pt x="417" y="657"/>
                      <a:pt x="409" y="671"/>
                      <a:pt x="394" y="671"/>
                    </a:cubicBezTo>
                    <a:cubicBezTo>
                      <a:pt x="74" y="671"/>
                      <a:pt x="74" y="671"/>
                      <a:pt x="74" y="671"/>
                    </a:cubicBezTo>
                    <a:cubicBezTo>
                      <a:pt x="59" y="671"/>
                      <a:pt x="49" y="659"/>
                      <a:pt x="49" y="644"/>
                    </a:cubicBezTo>
                    <a:cubicBezTo>
                      <a:pt x="49" y="67"/>
                      <a:pt x="49" y="67"/>
                      <a:pt x="49" y="67"/>
                    </a:cubicBezTo>
                    <a:cubicBezTo>
                      <a:pt x="49" y="50"/>
                      <a:pt x="61" y="46"/>
                      <a:pt x="74" y="46"/>
                    </a:cubicBezTo>
                    <a:cubicBezTo>
                      <a:pt x="394" y="46"/>
                      <a:pt x="394" y="46"/>
                      <a:pt x="394" y="46"/>
                    </a:cubicBezTo>
                    <a:cubicBezTo>
                      <a:pt x="404" y="46"/>
                      <a:pt x="417" y="48"/>
                      <a:pt x="417" y="67"/>
                    </a:cubicBezTo>
                    <a:cubicBezTo>
                      <a:pt x="417" y="644"/>
                      <a:pt x="417" y="644"/>
                      <a:pt x="417" y="6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12676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100" kern="0" dirty="0">
                  <a:solidFill>
                    <a:srgbClr val="505050"/>
                  </a:solidFill>
                  <a:ea typeface="ＭＳ Ｐゴシック" charset="0"/>
                </a:endParaRPr>
              </a:p>
            </p:txBody>
          </p:sp>
          <p:pic>
            <p:nvPicPr>
              <p:cNvPr id="24" name="Picture 39"/>
              <p:cNvPicPr>
                <a:picLocks noChangeAspect="1"/>
              </p:cNvPicPr>
              <p:nvPr/>
            </p:nvPicPr>
            <p:blipFill>
              <a:blip r:embed="rId7" cstate="print">
                <a:lum bright="70000" contrast="-70000"/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6426288" y="2509143"/>
                <a:ext cx="157991" cy="211509"/>
              </a:xfrm>
              <a:prstGeom prst="rect">
                <a:avLst/>
              </a:prstGeom>
            </p:spPr>
          </p:pic>
        </p:grpSp>
        <p:pic>
          <p:nvPicPr>
            <p:cNvPr id="22" name="Picture 3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auto">
            <a:xfrm flipH="1">
              <a:off x="9643825" y="5076814"/>
              <a:ext cx="384412" cy="381000"/>
            </a:xfrm>
            <a:prstGeom prst="rect">
              <a:avLst/>
            </a:prstGeom>
            <a:noFill/>
            <a:extLst/>
          </p:spPr>
        </p:pic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6930" y="-38418"/>
            <a:ext cx="3477731" cy="6007418"/>
          </a:xfrm>
          <a:prstGeom prst="rect">
            <a:avLst/>
          </a:prstGeom>
          <a:effectLst>
            <a:glow>
              <a:schemeClr val="accent1"/>
            </a:glow>
            <a:softEdge rad="0"/>
          </a:effectLst>
        </p:spPr>
      </p:pic>
      <p:sp>
        <p:nvSpPr>
          <p:cNvPr id="32" name="椭圆 31"/>
          <p:cNvSpPr/>
          <p:nvPr/>
        </p:nvSpPr>
        <p:spPr>
          <a:xfrm>
            <a:off x="227806" y="5562600"/>
            <a:ext cx="1229127" cy="1115857"/>
          </a:xfrm>
          <a:prstGeom prst="ellipse">
            <a:avLst/>
          </a:prstGeom>
          <a:solidFill>
            <a:srgbClr val="FFC000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0" tIns="45658" rIns="91310" bIns="45658" rtlCol="0" anchor="ctr"/>
          <a:lstStyle/>
          <a:p>
            <a:pPr algn="ctr"/>
            <a:endParaRPr lang="zh-CN" altLang="en-US" sz="2400"/>
          </a:p>
        </p:txBody>
      </p:sp>
      <p:sp>
        <p:nvSpPr>
          <p:cNvPr id="33" name="文本框 20"/>
          <p:cNvSpPr txBox="1"/>
          <p:nvPr/>
        </p:nvSpPr>
        <p:spPr>
          <a:xfrm>
            <a:off x="500839" y="5589175"/>
            <a:ext cx="596054" cy="1123292"/>
          </a:xfrm>
          <a:prstGeom prst="rect">
            <a:avLst/>
          </a:prstGeom>
          <a:noFill/>
        </p:spPr>
        <p:txBody>
          <a:bodyPr wrap="square" lIns="91310" tIns="45658" rIns="91310" bIns="45658" rtlCol="0">
            <a:spAutoFit/>
          </a:bodyPr>
          <a:lstStyle/>
          <a:p>
            <a:r>
              <a:rPr lang="en-US" altLang="zh-CN" sz="67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endParaRPr lang="zh-CN" altLang="en-US" sz="67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193449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/>
          <p:cNvCxnSpPr/>
          <p:nvPr/>
        </p:nvCxnSpPr>
        <p:spPr>
          <a:xfrm>
            <a:off x="6887294" y="1275338"/>
            <a:ext cx="0" cy="4319917"/>
          </a:xfrm>
          <a:prstGeom prst="line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文本框 7"/>
          <p:cNvSpPr txBox="1"/>
          <p:nvPr/>
        </p:nvSpPr>
        <p:spPr>
          <a:xfrm>
            <a:off x="532606" y="3140968"/>
            <a:ext cx="6553200" cy="738411"/>
          </a:xfrm>
          <a:prstGeom prst="rect">
            <a:avLst/>
          </a:prstGeom>
          <a:noFill/>
        </p:spPr>
        <p:txBody>
          <a:bodyPr wrap="square" lIns="121668" tIns="60835" rIns="121668" bIns="60835" rtlCol="0">
            <a:spAutoFit/>
          </a:bodyPr>
          <a:lstStyle/>
          <a:p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oạt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ộng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ội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ạm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ên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Xe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uýt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à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ầu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ỏa</a:t>
            </a:r>
            <a:endParaRPr lang="en-US" altLang="zh-CN" sz="2000" b="1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en-US" altLang="zh-CN" sz="2000" b="1" dirty="0">
              <a:solidFill>
                <a:schemeClr val="accent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3" name="直接连接符 12"/>
          <p:cNvCxnSpPr/>
          <p:nvPr/>
        </p:nvCxnSpPr>
        <p:spPr>
          <a:xfrm flipH="1">
            <a:off x="8737589" y="5429004"/>
            <a:ext cx="3015951" cy="0"/>
          </a:xfrm>
          <a:prstGeom prst="line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8666639" y="1034366"/>
            <a:ext cx="2697833" cy="399934"/>
          </a:xfrm>
          <a:prstGeom prst="rect">
            <a:avLst/>
          </a:prstGeom>
          <a:noFill/>
        </p:spPr>
        <p:txBody>
          <a:bodyPr wrap="none" lIns="91271" tIns="45633" rIns="91271" bIns="45633" rtlCol="0">
            <a:spAutoFit/>
          </a:bodyPr>
          <a:lstStyle/>
          <a:p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ai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ạn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iao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ông</a:t>
            </a:r>
            <a:endParaRPr lang="zh-CN" altLang="en-US" sz="20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4" name="标题 1"/>
          <p:cNvSpPr txBox="1">
            <a:spLocks/>
          </p:cNvSpPr>
          <p:nvPr/>
        </p:nvSpPr>
        <p:spPr>
          <a:xfrm>
            <a:off x="901543" y="190899"/>
            <a:ext cx="11288869" cy="56348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zh-CN" altLang="en-US" sz="3200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algn="l">
              <a:defRPr/>
            </a:pPr>
            <a:endParaRPr lang="zh-CN" altLang="en-US" sz="3200" b="1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标题 1"/>
          <p:cNvSpPr txBox="1">
            <a:spLocks/>
          </p:cNvSpPr>
          <p:nvPr/>
        </p:nvSpPr>
        <p:spPr>
          <a:xfrm>
            <a:off x="234918" y="198858"/>
            <a:ext cx="11288869" cy="56348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zh-CN" altLang="en-US" sz="3200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algn="l">
              <a:defRPr/>
            </a:pPr>
            <a:endParaRPr lang="zh-CN" altLang="en-US" sz="3200" b="1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标题 1"/>
          <p:cNvSpPr txBox="1">
            <a:spLocks/>
          </p:cNvSpPr>
          <p:nvPr/>
        </p:nvSpPr>
        <p:spPr>
          <a:xfrm>
            <a:off x="285672" y="190899"/>
            <a:ext cx="11288869" cy="56348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en-US" altLang="zh-CN" sz="3200" b="1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YÊU CẦU VÀ </a:t>
            </a:r>
            <a:r>
              <a:rPr lang="en-US" altLang="zh-CN" sz="3200" b="1" dirty="0" smtClean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ÁCH THỨC</a:t>
            </a:r>
            <a:endParaRPr lang="zh-CN" altLang="en-US" sz="3200" b="1" dirty="0">
              <a:solidFill>
                <a:srgbClr val="FF0000"/>
              </a:solidFill>
              <a:latin typeface="Tahoma" pitchFamily="34" charset="0"/>
              <a:ea typeface="微软雅黑" pitchFamily="34" charset="-122"/>
              <a:cs typeface="Tahoma" pitchFamily="34" charset="0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3398" y="1428997"/>
            <a:ext cx="3772124" cy="2454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23398" y="4320802"/>
            <a:ext cx="3795628" cy="1988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10621" y="1067321"/>
            <a:ext cx="4457700" cy="212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03462" y="3644861"/>
            <a:ext cx="3848100" cy="248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文本框 7"/>
          <p:cNvSpPr txBox="1"/>
          <p:nvPr/>
        </p:nvSpPr>
        <p:spPr>
          <a:xfrm>
            <a:off x="304006" y="6096000"/>
            <a:ext cx="6477000" cy="430635"/>
          </a:xfrm>
          <a:prstGeom prst="rect">
            <a:avLst/>
          </a:prstGeom>
          <a:noFill/>
        </p:spPr>
        <p:txBody>
          <a:bodyPr wrap="square" lIns="121668" tIns="60835" rIns="121668" bIns="60835" rtlCol="0">
            <a:spAutoFit/>
          </a:bodyPr>
          <a:lstStyle/>
          <a:p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ầm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hìn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ên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Xe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uần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a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ảnh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át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iới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ạn</a:t>
            </a:r>
            <a:r>
              <a:rPr lang="en-US" altLang="zh-CN" sz="20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  <a:endParaRPr lang="en-US" altLang="zh-CN" sz="2000" b="1" dirty="0">
              <a:solidFill>
                <a:schemeClr val="accent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667897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 hidden="1"/>
          <p:cNvSpPr>
            <a:spLocks noGrp="1"/>
          </p:cNvSpPr>
          <p:nvPr>
            <p:ph type="title" idx="4294967295"/>
          </p:nvPr>
        </p:nvSpPr>
        <p:spPr>
          <a:xfrm>
            <a:off x="609521" y="274639"/>
            <a:ext cx="10971372" cy="1143000"/>
          </a:xfrm>
        </p:spPr>
        <p:txBody>
          <a:bodyPr/>
          <a:lstStyle/>
          <a:p>
            <a:endParaRPr lang="zh-CN" altLang="en-US"/>
          </a:p>
        </p:txBody>
      </p:sp>
      <p:pic>
        <p:nvPicPr>
          <p:cNvPr id="1028" name="Picture 4" descr="C:\Users\26457\Desktop\墨西哥案例图片\42166d224f4a20a4d3e4aac592529822720ed03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" y="0"/>
            <a:ext cx="121904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21"/>
          <p:cNvSpPr/>
          <p:nvPr>
            <p:custDataLst>
              <p:tags r:id="rId1"/>
            </p:custDataLst>
          </p:nvPr>
        </p:nvSpPr>
        <p:spPr bwMode="auto">
          <a:xfrm>
            <a:off x="2" y="4549691"/>
            <a:ext cx="10053900" cy="1344828"/>
          </a:xfrm>
          <a:prstGeom prst="rect">
            <a:avLst/>
          </a:prstGeom>
          <a:solidFill>
            <a:schemeClr val="bg1">
              <a:alpha val="8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374" tIns="45686" rIns="91374" bIns="913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85615" lvl="1" defTabSz="1171226"/>
            <a:r>
              <a:rPr lang="en-US" altLang="zh-CN" sz="3500" b="1" dirty="0" smtClean="0">
                <a:solidFill>
                  <a:srgbClr val="0072C8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Ự </a:t>
            </a:r>
            <a:r>
              <a:rPr lang="en-US" altLang="zh-CN" sz="3500" b="1" dirty="0" smtClean="0">
                <a:solidFill>
                  <a:srgbClr val="0072C8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ÁN </a:t>
            </a:r>
            <a:r>
              <a:rPr lang="en-US" altLang="zh-CN" sz="3500" b="1" dirty="0" smtClean="0">
                <a:solidFill>
                  <a:srgbClr val="0072C8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uadalajara</a:t>
            </a:r>
            <a:r>
              <a:rPr lang="zh-CN" altLang="en-US" sz="3500" b="1" dirty="0">
                <a:solidFill>
                  <a:srgbClr val="0072C8"/>
                </a:solidFill>
                <a:latin typeface="Tahoma" pitchFamily="34" charset="0"/>
                <a:cs typeface="Tahoma" pitchFamily="34" charset="0"/>
              </a:rPr>
              <a:t>，</a:t>
            </a:r>
            <a:r>
              <a:rPr lang="en-US" altLang="zh-CN" sz="3500" b="1" dirty="0">
                <a:solidFill>
                  <a:srgbClr val="0072C8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exico </a:t>
            </a:r>
            <a:endParaRPr lang="zh-CN" altLang="en-US" sz="3500" b="1" dirty="0">
              <a:solidFill>
                <a:srgbClr val="0072C8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1981626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 hidden="1"/>
          <p:cNvSpPr>
            <a:spLocks noGrp="1"/>
          </p:cNvSpPr>
          <p:nvPr>
            <p:ph type="title" idx="4294967295"/>
          </p:nvPr>
        </p:nvSpPr>
        <p:spPr>
          <a:xfrm>
            <a:off x="609521" y="274639"/>
            <a:ext cx="10971372" cy="1143000"/>
          </a:xfrm>
        </p:spPr>
        <p:txBody>
          <a:bodyPr/>
          <a:lstStyle/>
          <a:p>
            <a:endParaRPr lang="zh-CN" altLang="en-US"/>
          </a:p>
        </p:txBody>
      </p:sp>
      <p:grpSp>
        <p:nvGrpSpPr>
          <p:cNvPr id="56" name="组合 55"/>
          <p:cNvGrpSpPr/>
          <p:nvPr/>
        </p:nvGrpSpPr>
        <p:grpSpPr>
          <a:xfrm>
            <a:off x="-29566" y="-7780"/>
            <a:ext cx="12219978" cy="1045979"/>
            <a:chOff x="-30163" y="-7938"/>
            <a:chExt cx="12466637" cy="1066802"/>
          </a:xfrm>
        </p:grpSpPr>
        <p:pic>
          <p:nvPicPr>
            <p:cNvPr id="57" name="Picture 9" descr="C:\Users\mitchelld\Desktop\iStock_000001759899Mediu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2953" b="10764"/>
            <a:stretch/>
          </p:blipFill>
          <p:spPr bwMode="auto">
            <a:xfrm>
              <a:off x="10932393" y="1"/>
              <a:ext cx="1504081" cy="1058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0" name="Rectangle 55"/>
            <p:cNvSpPr/>
            <p:nvPr/>
          </p:nvSpPr>
          <p:spPr bwMode="auto">
            <a:xfrm>
              <a:off x="-30163" y="-3967"/>
              <a:ext cx="1631516" cy="1062831"/>
            </a:xfrm>
            <a:prstGeom prst="rect">
              <a:avLst/>
            </a:prstGeom>
            <a:solidFill>
              <a:srgbClr val="0072C6"/>
            </a:solidFill>
            <a:ln w="1079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505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kern="0" dirty="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  <a:latin typeface="Segoe UI"/>
              </a:endParaRPr>
            </a:p>
            <a:p>
              <a:pPr algn="ctr" defTabSz="89505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3500" b="1" kern="0" dirty="0" err="1">
                  <a:gradFill>
                    <a:gsLst>
                      <a:gs pos="1250">
                        <a:srgbClr val="EFEFEF"/>
                      </a:gs>
                      <a:gs pos="10417">
                        <a:srgbClr val="EFEFEF"/>
                      </a:gs>
                    </a:gsLst>
                    <a:lin ang="5400000" scaled="0"/>
                  </a:gradFill>
                </a:rPr>
                <a:t>Dahua</a:t>
              </a:r>
              <a:endParaRPr lang="en-US" sz="3500" b="1" kern="0" dirty="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59" name="Rectangle 24"/>
            <p:cNvSpPr/>
            <p:nvPr/>
          </p:nvSpPr>
          <p:spPr bwMode="auto">
            <a:xfrm>
              <a:off x="1601353" y="-7938"/>
              <a:ext cx="9331040" cy="1066800"/>
            </a:xfrm>
            <a:prstGeom prst="rect">
              <a:avLst/>
            </a:prstGeom>
            <a:solidFill>
              <a:srgbClr val="505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60" tIns="46630" rIns="93260" bIns="9326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139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800" kern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62" name="TextBox 61"/>
          <p:cNvSpPr txBox="1"/>
          <p:nvPr/>
        </p:nvSpPr>
        <p:spPr>
          <a:xfrm>
            <a:off x="1569669" y="262595"/>
            <a:ext cx="7736390" cy="629072"/>
          </a:xfrm>
          <a:prstGeom prst="rect">
            <a:avLst/>
          </a:prstGeom>
          <a:noFill/>
        </p:spPr>
        <p:txBody>
          <a:bodyPr wrap="square" lIns="89590" tIns="44794" rIns="89590" bIns="44794" rtlCol="0">
            <a:spAutoFit/>
          </a:bodyPr>
          <a:lstStyle/>
          <a:p>
            <a:pPr marL="585615" lvl="1" defTabSz="1171226"/>
            <a:r>
              <a:rPr lang="en-US" altLang="zh-CN" sz="35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ỔNG QUAN DỰ ÁN</a:t>
            </a:r>
            <a:endParaRPr lang="en-US" sz="3500" b="1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3" y="5483608"/>
            <a:ext cx="12190412" cy="112069"/>
          </a:xfrm>
          <a:prstGeom prst="rect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5" dist="22860" dir="5400000" algn="ctr" rotWithShape="0">
              <a:srgbClr val="000000">
                <a:alpha val="35000"/>
              </a:srgbClr>
            </a:outerShdw>
          </a:effectLst>
        </p:spPr>
        <p:txBody>
          <a:bodyPr vert="horz" wrap="square" lIns="91338" tIns="45670" rIns="1004678" bIns="4567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2pPr marL="0" marR="0" lvl="1" indent="0" defTabSz="699219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900" b="1" i="0" u="none" strike="noStrike" kern="0" cap="none" spc="0" normalizeH="0" baseline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 Light" pitchFamily="34" charset="0"/>
              </a:defRPr>
            </a:lvl2pPr>
          </a:lstStyle>
          <a:p>
            <a:pPr defTabSz="1171226"/>
            <a:endParaRPr lang="zh-CN" altLang="en-US" sz="2400" dirty="0">
              <a:solidFill>
                <a:prstClr val="black"/>
              </a:solidFill>
            </a:endParaRPr>
          </a:p>
        </p:txBody>
      </p:sp>
      <p:sp>
        <p:nvSpPr>
          <p:cNvPr id="85" name="Rectangle 11"/>
          <p:cNvSpPr/>
          <p:nvPr/>
        </p:nvSpPr>
        <p:spPr bwMode="auto">
          <a:xfrm>
            <a:off x="4273025" y="2046816"/>
            <a:ext cx="7917388" cy="3436783"/>
          </a:xfrm>
          <a:prstGeom prst="rect">
            <a:avLst/>
          </a:prstGeom>
          <a:solidFill>
            <a:srgbClr val="505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34" tIns="45669" rIns="91334" bIns="45669" numCol="1" rtlCol="0" anchor="ctr" anchorCtr="0" compatLnSpc="1">
            <a:prstTxWarp prst="textNoShape">
              <a:avLst/>
            </a:prstTxWarp>
          </a:bodyPr>
          <a:lstStyle/>
          <a:p>
            <a:pPr defTabSz="1171226"/>
            <a:endParaRPr lang="zh-CN" altLang="en-US" sz="1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333205" y="2362200"/>
            <a:ext cx="6857207" cy="4307002"/>
          </a:xfrm>
          <a:prstGeom prst="rect">
            <a:avLst/>
          </a:prstGeom>
          <a:noFill/>
        </p:spPr>
        <p:txBody>
          <a:bodyPr wrap="square" lIns="89590" tIns="44794" rIns="89590" bIns="44794" rtlCol="0">
            <a:spAutoFit/>
          </a:bodyPr>
          <a:lstStyle/>
          <a:p>
            <a:pPr defTabSz="1171226">
              <a:lnSpc>
                <a:spcPct val="150000"/>
              </a:lnSpc>
            </a:pPr>
            <a:r>
              <a:rPr lang="en-US" altLang="zh-CN" sz="20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Quy</a:t>
            </a:r>
            <a:r>
              <a:rPr lang="en-US" altLang="zh-CN" sz="20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ô</a:t>
            </a:r>
            <a:r>
              <a:rPr lang="en-US" altLang="zh-CN" sz="20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ự</a:t>
            </a:r>
            <a:r>
              <a:rPr lang="en-US" altLang="zh-CN" sz="20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Án</a:t>
            </a:r>
            <a:r>
              <a:rPr lang="zh-CN" altLang="en-US" sz="2000" b="1" dirty="0" smtClean="0">
                <a:solidFill>
                  <a:prstClr val="white"/>
                </a:solidFill>
                <a:latin typeface="Tahoma" pitchFamily="34" charset="0"/>
                <a:ea typeface="微软雅黑" pitchFamily="34" charset="-122"/>
                <a:cs typeface="Tahoma" pitchFamily="34" charset="0"/>
              </a:rPr>
              <a:t>：                   </a:t>
            </a:r>
            <a:r>
              <a:rPr lang="en-US" altLang="zh-CN" sz="20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ơn</a:t>
            </a:r>
            <a:r>
              <a:rPr lang="en-US" altLang="zh-CN" sz="20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5000  </a:t>
            </a:r>
            <a:r>
              <a:rPr lang="en-US" altLang="zh-CN" sz="20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xe</a:t>
            </a:r>
            <a:r>
              <a:rPr lang="en-US" altLang="zh-CN" sz="20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us</a:t>
            </a:r>
          </a:p>
          <a:p>
            <a:pPr defTabSz="1171226">
              <a:lnSpc>
                <a:spcPct val="150000"/>
              </a:lnSpc>
            </a:pPr>
            <a:endParaRPr lang="en-US" altLang="zh-CN" sz="2000" b="1" dirty="0" smtClean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defTabSz="1171226"/>
            <a:endParaRPr lang="en-US" altLang="zh-CN" sz="2000" b="1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defTabSz="1171226">
              <a:lnSpc>
                <a:spcPct val="150000"/>
              </a:lnSpc>
            </a:pPr>
            <a:r>
              <a:rPr lang="en-US" altLang="zh-CN" sz="20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ố</a:t>
            </a:r>
            <a:r>
              <a:rPr lang="en-US" altLang="zh-CN" sz="20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ượng</a:t>
            </a:r>
            <a:r>
              <a:rPr lang="en-US" altLang="zh-CN" sz="20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iện</a:t>
            </a:r>
            <a:r>
              <a:rPr lang="en-US" altLang="zh-CN" sz="20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ại</a:t>
            </a:r>
            <a:r>
              <a:rPr lang="zh-CN" altLang="en-US" sz="2000" b="1" dirty="0" smtClean="0">
                <a:solidFill>
                  <a:prstClr val="white"/>
                </a:solidFill>
                <a:latin typeface="Tahoma" pitchFamily="34" charset="0"/>
                <a:ea typeface="微软雅黑" pitchFamily="34" charset="-122"/>
                <a:cs typeface="Tahoma" pitchFamily="34" charset="0"/>
              </a:rPr>
              <a:t>：            </a:t>
            </a:r>
            <a:r>
              <a:rPr lang="en-US" altLang="zh-CN" sz="20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521pcs (</a:t>
            </a:r>
            <a:r>
              <a:rPr lang="en-US" altLang="zh-CN" sz="20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iai</a:t>
            </a:r>
            <a:r>
              <a:rPr lang="en-US" altLang="zh-CN" sz="20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oạn</a:t>
            </a:r>
            <a:r>
              <a:rPr lang="en-US" altLang="zh-CN" sz="20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</a:t>
            </a:r>
            <a:r>
              <a:rPr lang="en-US" altLang="zh-CN" sz="20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ầu</a:t>
            </a:r>
            <a:r>
              <a:rPr lang="en-US" altLang="zh-CN" sz="20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</a:p>
          <a:p>
            <a:pPr defTabSz="1171226">
              <a:lnSpc>
                <a:spcPct val="150000"/>
              </a:lnSpc>
            </a:pPr>
            <a:endParaRPr lang="en-US" altLang="zh-CN" sz="2000" b="1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defTabSz="1171226"/>
            <a:endParaRPr lang="en-US" altLang="zh-CN" sz="2000" b="1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defTabSz="1171226">
              <a:lnSpc>
                <a:spcPct val="150000"/>
              </a:lnSpc>
            </a:pPr>
            <a:r>
              <a:rPr lang="en-US" altLang="zh-CN" sz="20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ị</a:t>
            </a:r>
            <a:r>
              <a:rPr lang="en-US" altLang="zh-CN" sz="20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ần</a:t>
            </a:r>
            <a:r>
              <a:rPr lang="zh-CN" altLang="en-US" sz="2000" b="1" dirty="0" smtClean="0">
                <a:solidFill>
                  <a:prstClr val="white"/>
                </a:solidFill>
                <a:latin typeface="Tahoma" pitchFamily="34" charset="0"/>
                <a:ea typeface="微软雅黑" pitchFamily="34" charset="-122"/>
                <a:cs typeface="Tahoma" pitchFamily="34" charset="0"/>
              </a:rPr>
              <a:t>：</a:t>
            </a:r>
            <a:r>
              <a:rPr lang="en-US" altLang="zh-CN" sz="20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                         No.1 </a:t>
            </a:r>
            <a:r>
              <a:rPr lang="en-US" altLang="zh-CN" sz="20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ên</a:t>
            </a:r>
            <a:r>
              <a:rPr lang="en-US" altLang="zh-CN" sz="20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ị</a:t>
            </a:r>
            <a:r>
              <a:rPr lang="en-US" altLang="zh-CN" sz="20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ường</a:t>
            </a:r>
            <a:endParaRPr lang="en-US" altLang="zh-CN" sz="2000" b="1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defTabSz="1171226"/>
            <a:r>
              <a:rPr lang="en-US" altLang="zh-CN" sz="20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                                      </a:t>
            </a:r>
          </a:p>
          <a:p>
            <a:pPr defTabSz="1171226"/>
            <a:endParaRPr lang="zh-CN" altLang="en-US" sz="2000" b="1" dirty="0">
              <a:solidFill>
                <a:prstClr val="white"/>
              </a:solidFill>
              <a:latin typeface="Tahoma" pitchFamily="34" charset="0"/>
              <a:ea typeface="微软雅黑" pitchFamily="34" charset="-122"/>
              <a:cs typeface="Tahoma" pitchFamily="34" charset="0"/>
            </a:endParaRPr>
          </a:p>
          <a:p>
            <a:pPr marL="279955" indent="-279955" defTabSz="1171226">
              <a:buFont typeface="Arial" panose="020B0604020202020204" pitchFamily="34" charset="0"/>
              <a:buChar char="•"/>
            </a:pPr>
            <a:endParaRPr lang="en-US" altLang="zh-CN" sz="2000" b="1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67974" indent="-167974" defTabSz="895856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altLang="zh-CN" sz="2000" b="1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6" name="直接连接符 5"/>
          <p:cNvCxnSpPr/>
          <p:nvPr/>
        </p:nvCxnSpPr>
        <p:spPr>
          <a:xfrm>
            <a:off x="-29558" y="2046815"/>
            <a:ext cx="1221997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 descr="C:\Users\26457\Desktop\墨西哥案例图片\rad600-02045995 (1)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29566" y="2046816"/>
            <a:ext cx="4984448" cy="3436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组合 14"/>
          <p:cNvGrpSpPr/>
          <p:nvPr/>
        </p:nvGrpSpPr>
        <p:grpSpPr>
          <a:xfrm>
            <a:off x="7924006" y="2362200"/>
            <a:ext cx="563236" cy="581637"/>
            <a:chOff x="9338973" y="2543245"/>
            <a:chExt cx="1152000" cy="1152000"/>
          </a:xfrm>
        </p:grpSpPr>
        <p:sp>
          <p:nvSpPr>
            <p:cNvPr id="16" name="泪滴形 15"/>
            <p:cNvSpPr/>
            <p:nvPr/>
          </p:nvSpPr>
          <p:spPr>
            <a:xfrm rot="8278206">
              <a:off x="9338973" y="2543245"/>
              <a:ext cx="1152000" cy="1152000"/>
            </a:xfrm>
            <a:prstGeom prst="teardrop">
              <a:avLst>
                <a:gd name="adj" fmla="val 105292"/>
              </a:avLst>
            </a:prstGeom>
            <a:solidFill>
              <a:srgbClr val="EB701D">
                <a:alpha val="6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71226"/>
              <a:endParaRPr lang="zh-CN" altLang="en-US" sz="2400">
                <a:solidFill>
                  <a:prstClr val="white"/>
                </a:solidFill>
              </a:endParaRPr>
            </a:p>
          </p:txBody>
        </p:sp>
        <p:pic>
          <p:nvPicPr>
            <p:cNvPr id="17" name="图片 16"/>
            <p:cNvPicPr>
              <a:picLocks noChangeAspect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 xmlns="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9470356" y="2708887"/>
              <a:ext cx="892597" cy="892597"/>
            </a:xfrm>
            <a:prstGeom prst="rect">
              <a:avLst/>
            </a:prstGeom>
          </p:spPr>
        </p:pic>
      </p:grpSp>
      <p:grpSp>
        <p:nvGrpSpPr>
          <p:cNvPr id="18" name="组合 17"/>
          <p:cNvGrpSpPr/>
          <p:nvPr/>
        </p:nvGrpSpPr>
        <p:grpSpPr>
          <a:xfrm>
            <a:off x="8000206" y="3505200"/>
            <a:ext cx="563236" cy="581637"/>
            <a:chOff x="9338973" y="2543245"/>
            <a:chExt cx="1152000" cy="1152000"/>
          </a:xfrm>
        </p:grpSpPr>
        <p:sp>
          <p:nvSpPr>
            <p:cNvPr id="19" name="泪滴形 18"/>
            <p:cNvSpPr/>
            <p:nvPr/>
          </p:nvSpPr>
          <p:spPr>
            <a:xfrm rot="8278206">
              <a:off x="9338973" y="2543245"/>
              <a:ext cx="1152000" cy="1152000"/>
            </a:xfrm>
            <a:prstGeom prst="teardrop">
              <a:avLst>
                <a:gd name="adj" fmla="val 105292"/>
              </a:avLst>
            </a:prstGeom>
            <a:solidFill>
              <a:srgbClr val="00B050">
                <a:alpha val="6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71226"/>
              <a:endParaRPr lang="zh-CN" altLang="en-US" sz="2400">
                <a:solidFill>
                  <a:prstClr val="white"/>
                </a:solidFill>
              </a:endParaRPr>
            </a:p>
          </p:txBody>
        </p:sp>
        <p:pic>
          <p:nvPicPr>
            <p:cNvPr id="20" name="图片 19"/>
            <p:cNvPicPr>
              <a:picLocks noChangeAspect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 xmlns="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9470356" y="2708887"/>
              <a:ext cx="892597" cy="892597"/>
            </a:xfrm>
            <a:prstGeom prst="rect">
              <a:avLst/>
            </a:prstGeom>
          </p:spPr>
        </p:pic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 xmlns="">
                  <a14:imgLayer r:embed="rId8">
                    <a14:imgEffect>
                      <a14:backgroundRemoval t="0" b="95928" l="0" r="9460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24006" y="4572000"/>
            <a:ext cx="737587" cy="7992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26637649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 hidden="1"/>
          <p:cNvSpPr>
            <a:spLocks noGrp="1"/>
          </p:cNvSpPr>
          <p:nvPr>
            <p:ph type="title" idx="4294967295"/>
          </p:nvPr>
        </p:nvSpPr>
        <p:spPr>
          <a:xfrm>
            <a:off x="609521" y="275496"/>
            <a:ext cx="10971372" cy="1142689"/>
          </a:xfrm>
        </p:spPr>
        <p:txBody>
          <a:bodyPr/>
          <a:lstStyle/>
          <a:p>
            <a:endParaRPr lang="zh-CN" altLang="en-US"/>
          </a:p>
        </p:txBody>
      </p:sp>
      <p:grpSp>
        <p:nvGrpSpPr>
          <p:cNvPr id="56" name="组合 55"/>
          <p:cNvGrpSpPr/>
          <p:nvPr/>
        </p:nvGrpSpPr>
        <p:grpSpPr>
          <a:xfrm>
            <a:off x="-29566" y="-6847"/>
            <a:ext cx="12219978" cy="1045694"/>
            <a:chOff x="-30163" y="-7938"/>
            <a:chExt cx="12466637" cy="1066801"/>
          </a:xfrm>
        </p:grpSpPr>
        <p:pic>
          <p:nvPicPr>
            <p:cNvPr id="57" name="Picture 9" descr="C:\Users\mitchelld\Desktop\iStock_000001759899Mediu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2953" b="10764"/>
            <a:stretch/>
          </p:blipFill>
          <p:spPr bwMode="auto">
            <a:xfrm>
              <a:off x="10932393" y="1"/>
              <a:ext cx="1504081" cy="1058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8" name="组合 57"/>
            <p:cNvGrpSpPr/>
            <p:nvPr/>
          </p:nvGrpSpPr>
          <p:grpSpPr>
            <a:xfrm>
              <a:off x="-30163" y="-7938"/>
              <a:ext cx="1631516" cy="1066801"/>
              <a:chOff x="-30163" y="2278062"/>
              <a:chExt cx="2303317" cy="1295401"/>
            </a:xfrm>
          </p:grpSpPr>
          <p:sp>
            <p:nvSpPr>
              <p:cNvPr id="60" name="Rectangle 55"/>
              <p:cNvSpPr/>
              <p:nvPr/>
            </p:nvSpPr>
            <p:spPr bwMode="auto">
              <a:xfrm>
                <a:off x="-30163" y="2282882"/>
                <a:ext cx="2303317" cy="1290581"/>
              </a:xfrm>
              <a:prstGeom prst="rect">
                <a:avLst/>
              </a:prstGeom>
              <a:solidFill>
                <a:srgbClr val="0072C6"/>
              </a:solidFill>
              <a:ln w="1079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36" tIns="143389" rIns="179236" bIns="143389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9549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960" kern="0" dirty="0">
                  <a:gradFill>
                    <a:gsLst>
                      <a:gs pos="1250">
                        <a:srgbClr val="EFEFEF"/>
                      </a:gs>
                      <a:gs pos="10417">
                        <a:srgbClr val="EFEFEF"/>
                      </a:gs>
                    </a:gsLst>
                    <a:lin ang="5400000" scaled="0"/>
                  </a:gra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  <a:p>
                <a:pPr algn="ctr" defTabSz="89549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3529" b="1" kern="0" dirty="0" err="1">
                    <a:gradFill>
                      <a:gsLst>
                        <a:gs pos="1250">
                          <a:srgbClr val="EFEFEF"/>
                        </a:gs>
                        <a:gs pos="10417">
                          <a:srgbClr val="EFEFEF"/>
                        </a:gs>
                      </a:gsLst>
                      <a:lin ang="5400000" scaled="0"/>
                    </a:gra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Dahua</a:t>
                </a:r>
                <a:endParaRPr lang="en-US" sz="3529" b="1" kern="0" dirty="0">
                  <a:gradFill>
                    <a:gsLst>
                      <a:gs pos="1250">
                        <a:srgbClr val="EFEFEF"/>
                      </a:gs>
                      <a:gs pos="10417">
                        <a:srgbClr val="EFEFEF"/>
                      </a:gs>
                    </a:gsLst>
                    <a:lin ang="5400000" scaled="0"/>
                  </a:gra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1" name="Rectangle 41"/>
              <p:cNvSpPr/>
              <p:nvPr/>
            </p:nvSpPr>
            <p:spPr bwMode="auto">
              <a:xfrm>
                <a:off x="274637" y="2278062"/>
                <a:ext cx="1524000" cy="304800"/>
              </a:xfrm>
              <a:prstGeom prst="rect">
                <a:avLst/>
              </a:prstGeom>
              <a:gradFill>
                <a:gsLst>
                  <a:gs pos="0">
                    <a:srgbClr val="505050">
                      <a:lumMod val="0"/>
                      <a:lumOff val="100000"/>
                    </a:srgbClr>
                  </a:gs>
                  <a:gs pos="100000">
                    <a:srgbClr val="505050">
                      <a:lumMod val="0"/>
                      <a:lumOff val="100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36" tIns="143389" rIns="179236" bIns="14338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9549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960" dirty="0">
                  <a:gradFill>
                    <a:gsLst>
                      <a:gs pos="1250">
                        <a:srgbClr val="9BBB59"/>
                      </a:gs>
                      <a:gs pos="10417">
                        <a:srgbClr val="9BBB59"/>
                      </a:gs>
                    </a:gsLst>
                    <a:lin ang="5400000" scaled="0"/>
                  </a:gra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sp>
          <p:nvSpPr>
            <p:cNvPr id="59" name="Rectangle 24"/>
            <p:cNvSpPr/>
            <p:nvPr/>
          </p:nvSpPr>
          <p:spPr bwMode="auto">
            <a:xfrm>
              <a:off x="1601353" y="-7938"/>
              <a:ext cx="9331040" cy="1066800"/>
            </a:xfrm>
            <a:prstGeom prst="rect">
              <a:avLst/>
            </a:prstGeom>
            <a:solidFill>
              <a:srgbClr val="505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15" tIns="45707" rIns="91415" bIns="91415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184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843" kern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62" name="TextBox 61"/>
          <p:cNvSpPr txBox="1"/>
          <p:nvPr/>
        </p:nvSpPr>
        <p:spPr>
          <a:xfrm>
            <a:off x="989806" y="228600"/>
            <a:ext cx="10439400" cy="635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85903" lvl="1" defTabSz="1171803"/>
            <a:r>
              <a:rPr lang="en-US" sz="3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Ệ THỐNG ĐẾM PHƯƠNG TIỆN TỰ ĐỘNG</a:t>
            </a:r>
            <a:endParaRPr lang="en-US" sz="3400" b="1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43896" y="1905276"/>
            <a:ext cx="5612182" cy="612477"/>
          </a:xfrm>
          <a:prstGeom prst="rect">
            <a:avLst/>
          </a:prstGeom>
          <a:solidFill>
            <a:srgbClr val="0072C6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36" tIns="143389" rIns="179236" bIns="143389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 defTabSz="91357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  <a:latin typeface="Segoe UI"/>
              </a:defRPr>
            </a:lvl1pPr>
          </a:lstStyle>
          <a:p>
            <a:r>
              <a:rPr lang="en-US" altLang="zh-CN" sz="2745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rước</a:t>
            </a:r>
            <a:r>
              <a:rPr lang="en-US" altLang="zh-CN" sz="2745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745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Đây</a:t>
            </a:r>
            <a:endParaRPr lang="zh-CN" altLang="en-US" sz="2745" b="1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030770" y="1890338"/>
            <a:ext cx="5815747" cy="627416"/>
          </a:xfrm>
          <a:prstGeom prst="rect">
            <a:avLst/>
          </a:prstGeom>
          <a:solidFill>
            <a:srgbClr val="0072C6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36" tIns="143389" rIns="179236" bIns="143389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 defTabSz="91357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  <a:latin typeface="Segoe UI"/>
              </a:defRPr>
            </a:lvl1pPr>
          </a:lstStyle>
          <a:p>
            <a:r>
              <a:rPr lang="en-US" altLang="zh-CN" sz="2745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Hiện</a:t>
            </a:r>
            <a:r>
              <a:rPr lang="en-US" altLang="zh-CN" sz="2745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745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ại</a:t>
            </a:r>
            <a:endParaRPr lang="zh-CN" altLang="en-US" sz="2745" b="1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8" name="Picture 4" descr="C:\Users\john\Desktop\PHOTO\IMG_064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3897" y="2738403"/>
            <a:ext cx="2614232" cy="2641773"/>
          </a:xfrm>
          <a:prstGeom prst="rect">
            <a:avLst/>
          </a:prstGeom>
          <a:noFill/>
          <a:ln>
            <a:solidFill>
              <a:srgbClr val="0072C8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图片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115285" y="2738403"/>
            <a:ext cx="2717931" cy="2641773"/>
          </a:xfrm>
          <a:prstGeom prst="rect">
            <a:avLst/>
          </a:prstGeom>
          <a:ln>
            <a:solidFill>
              <a:srgbClr val="0072C8"/>
            </a:solidFill>
          </a:ln>
        </p:spPr>
      </p:pic>
      <p:sp>
        <p:nvSpPr>
          <p:cNvPr id="26" name="TextBox 25"/>
          <p:cNvSpPr txBox="1"/>
          <p:nvPr/>
        </p:nvSpPr>
        <p:spPr>
          <a:xfrm>
            <a:off x="1912435" y="5528652"/>
            <a:ext cx="2674742" cy="452531"/>
          </a:xfrm>
          <a:prstGeom prst="rect">
            <a:avLst/>
          </a:prstGeom>
          <a:ln>
            <a:solidFill>
              <a:srgbClr val="0072C8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1171803"/>
            <a:r>
              <a:rPr lang="en-US" altLang="zh-CN" sz="2352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ếm</a:t>
            </a:r>
            <a:r>
              <a:rPr lang="en-US" altLang="zh-CN" sz="2352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352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ằng</a:t>
            </a:r>
            <a:r>
              <a:rPr lang="en-US" altLang="zh-CN" sz="2352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352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ay</a:t>
            </a:r>
            <a:endParaRPr lang="zh-CN" altLang="en-US" sz="2352" b="1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96496" y="2738403"/>
            <a:ext cx="5675328" cy="2641773"/>
          </a:xfrm>
          <a:prstGeom prst="rect">
            <a:avLst/>
          </a:prstGeom>
          <a:noFill/>
          <a:ln w="9525">
            <a:solidFill>
              <a:srgbClr val="0072C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6710786" y="5516009"/>
            <a:ext cx="4446747" cy="452531"/>
          </a:xfrm>
          <a:prstGeom prst="rect">
            <a:avLst/>
          </a:prstGeom>
          <a:ln>
            <a:solidFill>
              <a:srgbClr val="0072C8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1171803"/>
            <a:r>
              <a:rPr lang="en-US" altLang="zh-CN" sz="2352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Quy</a:t>
            </a:r>
            <a:r>
              <a:rPr lang="en-US" altLang="zh-CN" sz="2352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352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ình</a:t>
            </a:r>
            <a:r>
              <a:rPr lang="en-US" altLang="zh-CN" sz="2352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352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ếm</a:t>
            </a:r>
            <a:r>
              <a:rPr lang="en-US" altLang="zh-CN" sz="2352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352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ự</a:t>
            </a:r>
            <a:r>
              <a:rPr lang="en-US" altLang="zh-CN" sz="2352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352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ộng</a:t>
            </a:r>
            <a:endParaRPr lang="zh-CN" altLang="en-US" sz="2352" b="1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482105" y="1038845"/>
            <a:ext cx="1955760" cy="112039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5" dist="22860" dir="5400000" algn="ctr" rotWithShape="0">
              <a:srgbClr val="000000">
                <a:alpha val="35000"/>
              </a:srgbClr>
            </a:outerShdw>
          </a:effectLst>
        </p:spPr>
        <p:txBody>
          <a:bodyPr vert="horz" wrap="square" lIns="91380" tIns="45690" rIns="1005186" bIns="4569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2pPr marL="0" marR="0" lvl="1" indent="0" defTabSz="699219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900" b="1" i="0" u="none" strike="noStrike" kern="0" cap="none" spc="0" normalizeH="0" baseline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 Light" pitchFamily="34" charset="0"/>
              </a:defRPr>
            </a:lvl2pPr>
          </a:lstStyle>
          <a:p>
            <a:pPr defTabSz="1171803"/>
            <a:endParaRPr lang="zh-CN" altLang="en-US" sz="2352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96123" y="1038845"/>
            <a:ext cx="1866743" cy="112039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5" dist="22860" dir="5400000" algn="ctr" rotWithShape="0">
              <a:srgbClr val="000000">
                <a:alpha val="35000"/>
              </a:srgbClr>
            </a:outerShdw>
          </a:effectLst>
        </p:spPr>
        <p:txBody>
          <a:bodyPr vert="horz" wrap="square" lIns="91380" tIns="45690" rIns="1005186" bIns="4569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2pPr marL="0" marR="0" lvl="1" indent="0" defTabSz="699219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900" b="1" i="0" u="none" strike="noStrike" kern="0" cap="none" spc="0" normalizeH="0" baseline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 Light" pitchFamily="34" charset="0"/>
              </a:defRPr>
            </a:lvl2pPr>
          </a:lstStyle>
          <a:p>
            <a:pPr defTabSz="1171803"/>
            <a:endParaRPr lang="zh-CN" altLang="en-US" sz="2352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441649" y="1038845"/>
            <a:ext cx="1955760" cy="112039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5" dist="22860" dir="5400000" algn="ctr" rotWithShape="0">
              <a:srgbClr val="000000">
                <a:alpha val="35000"/>
              </a:srgbClr>
            </a:outerShdw>
          </a:effectLst>
        </p:spPr>
        <p:txBody>
          <a:bodyPr vert="horz" wrap="square" lIns="91380" tIns="45690" rIns="1005186" bIns="4569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2pPr marL="0" marR="0" lvl="1" indent="0" defTabSz="699219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900" b="1" i="0" u="none" strike="noStrike" kern="0" cap="none" spc="0" normalizeH="0" baseline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 Light" pitchFamily="34" charset="0"/>
              </a:defRPr>
            </a:lvl2pPr>
          </a:lstStyle>
          <a:p>
            <a:pPr defTabSz="1171803"/>
            <a:endParaRPr lang="zh-CN" altLang="en-US" sz="2352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0899911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-29566" y="-6847"/>
            <a:ext cx="12219978" cy="1045694"/>
            <a:chOff x="-30163" y="-7938"/>
            <a:chExt cx="12466637" cy="1066801"/>
          </a:xfrm>
        </p:grpSpPr>
        <p:pic>
          <p:nvPicPr>
            <p:cNvPr id="6" name="Picture 9" descr="C:\Users\mitchelld\Desktop\iStock_000001759899Mediu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2953" b="10764"/>
            <a:stretch/>
          </p:blipFill>
          <p:spPr bwMode="auto">
            <a:xfrm>
              <a:off x="10932393" y="1"/>
              <a:ext cx="1504081" cy="1058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7" name="组合 6"/>
            <p:cNvGrpSpPr/>
            <p:nvPr/>
          </p:nvGrpSpPr>
          <p:grpSpPr>
            <a:xfrm>
              <a:off x="-30163" y="-7938"/>
              <a:ext cx="1631516" cy="1066801"/>
              <a:chOff x="-30163" y="2278062"/>
              <a:chExt cx="2303317" cy="1295401"/>
            </a:xfrm>
          </p:grpSpPr>
          <p:sp>
            <p:nvSpPr>
              <p:cNvPr id="9" name="Rectangle 55"/>
              <p:cNvSpPr/>
              <p:nvPr/>
            </p:nvSpPr>
            <p:spPr bwMode="auto">
              <a:xfrm>
                <a:off x="-30163" y="2282882"/>
                <a:ext cx="2303317" cy="1290581"/>
              </a:xfrm>
              <a:prstGeom prst="rect">
                <a:avLst/>
              </a:prstGeom>
              <a:solidFill>
                <a:srgbClr val="0072C6"/>
              </a:solidFill>
              <a:ln w="1079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36" tIns="143389" rIns="179236" bIns="143389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9549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960" kern="0" dirty="0">
                  <a:gradFill>
                    <a:gsLst>
                      <a:gs pos="1250">
                        <a:srgbClr val="EFEFEF"/>
                      </a:gs>
                      <a:gs pos="10417">
                        <a:srgbClr val="EFEFEF"/>
                      </a:gs>
                    </a:gsLst>
                    <a:lin ang="5400000" scaled="0"/>
                  </a:gradFill>
                  <a:latin typeface="Arial" pitchFamily="34" charset="0"/>
                  <a:cs typeface="Arial" pitchFamily="34" charset="0"/>
                </a:endParaRPr>
              </a:p>
              <a:p>
                <a:pPr algn="ctr" defTabSz="89549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3529" b="1" kern="0" dirty="0" err="1">
                    <a:gradFill>
                      <a:gsLst>
                        <a:gs pos="1250">
                          <a:srgbClr val="EFEFEF"/>
                        </a:gs>
                        <a:gs pos="10417">
                          <a:srgbClr val="EFEFEF"/>
                        </a:gs>
                      </a:gsLst>
                      <a:lin ang="5400000" scaled="0"/>
                    </a:gradFill>
                    <a:latin typeface="Arial" pitchFamily="34" charset="0"/>
                    <a:cs typeface="Arial" pitchFamily="34" charset="0"/>
                  </a:rPr>
                  <a:t>Dahua</a:t>
                </a:r>
                <a:endParaRPr lang="en-US" sz="3529" b="1" kern="0" dirty="0">
                  <a:gradFill>
                    <a:gsLst>
                      <a:gs pos="1250">
                        <a:srgbClr val="EFEFEF"/>
                      </a:gs>
                      <a:gs pos="10417">
                        <a:srgbClr val="EFEFEF"/>
                      </a:gs>
                    </a:gsLst>
                    <a:lin ang="5400000" scaled="0"/>
                  </a:gra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" name="Rectangle 41"/>
              <p:cNvSpPr/>
              <p:nvPr/>
            </p:nvSpPr>
            <p:spPr bwMode="auto">
              <a:xfrm>
                <a:off x="274637" y="2278062"/>
                <a:ext cx="1524000" cy="304800"/>
              </a:xfrm>
              <a:prstGeom prst="rect">
                <a:avLst/>
              </a:prstGeom>
              <a:gradFill>
                <a:gsLst>
                  <a:gs pos="0">
                    <a:srgbClr val="505050">
                      <a:lumMod val="0"/>
                      <a:lumOff val="100000"/>
                    </a:srgbClr>
                  </a:gs>
                  <a:gs pos="100000">
                    <a:srgbClr val="505050">
                      <a:lumMod val="0"/>
                      <a:lumOff val="100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36" tIns="143389" rIns="179236" bIns="14338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9549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960" dirty="0">
                  <a:gradFill>
                    <a:gsLst>
                      <a:gs pos="1250">
                        <a:srgbClr val="9BBB59"/>
                      </a:gs>
                      <a:gs pos="10417">
                        <a:srgbClr val="9BBB59"/>
                      </a:gs>
                    </a:gsLst>
                    <a:lin ang="5400000" scaled="0"/>
                  </a:gra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8" name="Rectangle 24"/>
            <p:cNvSpPr/>
            <p:nvPr/>
          </p:nvSpPr>
          <p:spPr bwMode="auto">
            <a:xfrm>
              <a:off x="1601353" y="-7938"/>
              <a:ext cx="9331040" cy="1066800"/>
            </a:xfrm>
            <a:prstGeom prst="rect">
              <a:avLst/>
            </a:prstGeom>
            <a:solidFill>
              <a:srgbClr val="505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15" tIns="45707" rIns="91415" bIns="91415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184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843" kern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Arial" pitchFamily="34" charset="0"/>
                <a:ea typeface="Segoe UI" pitchFamily="34" charset="0"/>
                <a:cs typeface="Arial" pitchFamily="34" charset="0"/>
              </a:endParaRP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1569669" y="263457"/>
            <a:ext cx="7736390" cy="633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85903" lvl="1" defTabSz="1171803"/>
            <a:r>
              <a:rPr lang="en-US" sz="3529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ÁNH GIÁ HIỆU QUẢ</a:t>
            </a:r>
            <a:endParaRPr lang="en-US" sz="3529" b="1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/>
          </p:nvPr>
        </p:nvGraphicFramePr>
        <p:xfrm>
          <a:off x="5485606" y="1337614"/>
          <a:ext cx="6510297" cy="1636672"/>
        </p:xfrm>
        <a:graphic>
          <a:graphicData uri="http://schemas.openxmlformats.org/drawingml/2006/table">
            <a:tbl>
              <a:tblPr>
                <a:tableStyleId>{F5AB1C69-6EDB-4FF4-983F-18BD219EF322}</a:tableStyleId>
              </a:tblPr>
              <a:tblGrid>
                <a:gridCol w="1007545"/>
                <a:gridCol w="1112850"/>
                <a:gridCol w="1289760"/>
                <a:gridCol w="1690256"/>
                <a:gridCol w="1409886"/>
              </a:tblGrid>
              <a:tr h="473339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altLang="zh-CN" sz="2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Chi </a:t>
                      </a:r>
                      <a:r>
                        <a:rPr lang="en-US" altLang="zh-CN" sz="2400" b="1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Phí</a:t>
                      </a:r>
                      <a:r>
                        <a:rPr lang="en-US" altLang="zh-CN" sz="2400" b="1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(</a:t>
                      </a:r>
                      <a:r>
                        <a:rPr lang="en-US" altLang="zh-CN" sz="2400" b="1" u="none" strike="noStrike" kern="1200" baseline="0" dirty="0" err="1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trên</a:t>
                      </a:r>
                      <a:r>
                        <a:rPr lang="en-US" altLang="zh-CN" sz="2400" b="1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altLang="zh-CN" sz="2400" b="1" u="none" strike="noStrike" kern="1200" baseline="0" dirty="0" err="1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mỗi</a:t>
                      </a:r>
                      <a:r>
                        <a:rPr lang="en-US" altLang="zh-CN" sz="2400" b="1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altLang="zh-CN" sz="2400" b="1" u="none" strike="noStrike" kern="1200" baseline="0" dirty="0" err="1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xe</a:t>
                      </a:r>
                      <a:r>
                        <a:rPr lang="en-US" altLang="zh-CN" sz="2400" b="1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/1 </a:t>
                      </a:r>
                      <a:r>
                        <a:rPr lang="en-US" altLang="zh-CN" sz="2400" b="1" u="none" strike="noStrike" kern="1200" baseline="0" dirty="0" err="1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năm</a:t>
                      </a:r>
                      <a:r>
                        <a:rPr lang="en-US" altLang="zh-CN" sz="2400" b="1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)</a:t>
                      </a:r>
                      <a:endParaRPr lang="zh-CN" altLang="en-US" sz="2400" b="1" u="none" strike="noStrike" kern="1200" dirty="0">
                        <a:solidFill>
                          <a:schemeClr val="bg1"/>
                        </a:solidFill>
                        <a:effectLst/>
                        <a:latin typeface="Tahoma" pitchFamily="34" charset="0"/>
                        <a:ea typeface="黑体" pitchFamily="49" charset="-122"/>
                        <a:cs typeface="Tahoma" pitchFamily="34" charset="0"/>
                      </a:endParaRPr>
                    </a:p>
                  </a:txBody>
                  <a:tcPr marL="9337" marR="9337" marT="9337" marB="0" anchor="ctr"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CN" altLang="en-US" sz="2000" b="1" i="0" u="none" strike="noStrike" dirty="0">
                        <a:solidFill>
                          <a:schemeClr val="bg1"/>
                        </a:solidFill>
                        <a:effectLst/>
                        <a:latin typeface="黑体" pitchFamily="49" charset="-122"/>
                        <a:ea typeface="黑体" pitchFamily="49" charset="-122"/>
                      </a:endParaRPr>
                    </a:p>
                  </a:txBody>
                  <a:tcPr marL="9525" marR="9525" marT="9525" marB="0" anchor="ctr">
                    <a:solidFill>
                      <a:srgbClr val="00B050"/>
                    </a:solidFill>
                  </a:tcPr>
                </a:tc>
              </a:tr>
              <a:tr h="606875">
                <a:tc>
                  <a:txBody>
                    <a:bodyPr/>
                    <a:lstStyle/>
                    <a:p>
                      <a:pPr marL="0" algn="ctr" defTabSz="1195473" rtl="0" eaLnBrk="1" fontAlgn="b" latinLnBrk="0" hangingPunct="1"/>
                      <a:r>
                        <a:rPr lang="en-US" altLang="zh-CN" sz="1400" b="1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Năm</a:t>
                      </a:r>
                      <a:r>
                        <a:rPr lang="zh-CN" altLang="en-US" sz="14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黑体" pitchFamily="49" charset="-122"/>
                          <a:cs typeface="Tahoma" pitchFamily="34" charset="0"/>
                        </a:rPr>
                        <a:t>　</a:t>
                      </a:r>
                    </a:p>
                  </a:txBody>
                  <a:tcPr marL="9337" marR="9337" marT="9337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95473" rtl="0" eaLnBrk="1" fontAlgn="b" latinLnBrk="0" hangingPunct="1"/>
                      <a:r>
                        <a:rPr lang="en-US" altLang="zh-CN" sz="1400" b="1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Giá</a:t>
                      </a:r>
                      <a:r>
                        <a:rPr lang="en-US" altLang="zh-CN" sz="1400" b="1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altLang="zh-CN" sz="1400" b="1" i="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thiết</a:t>
                      </a:r>
                      <a:r>
                        <a:rPr lang="en-US" altLang="zh-CN" sz="1400" b="1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altLang="zh-CN" sz="1400" b="1" i="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bị</a:t>
                      </a:r>
                      <a:endParaRPr lang="zh-CN" altLang="en-US" sz="1400" b="1" i="0" u="none" strike="noStrike" kern="1200" dirty="0">
                        <a:solidFill>
                          <a:schemeClr val="dk1"/>
                        </a:solidFill>
                        <a:effectLst/>
                        <a:latin typeface="Tahoma" pitchFamily="34" charset="0"/>
                        <a:ea typeface="黑体" pitchFamily="49" charset="-122"/>
                        <a:cs typeface="Tahoma" pitchFamily="34" charset="0"/>
                      </a:endParaRPr>
                    </a:p>
                  </a:txBody>
                  <a:tcPr marL="9337" marR="9337" marT="9337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95473" rtl="0" eaLnBrk="1" fontAlgn="b" latinLnBrk="0" hangingPunct="1"/>
                      <a:r>
                        <a:rPr lang="en-US" altLang="zh-CN" sz="1400" b="1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Dịch</a:t>
                      </a:r>
                      <a:r>
                        <a:rPr lang="en-US" altLang="zh-CN" sz="1400" b="1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altLang="zh-CN" sz="1400" b="1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vụ</a:t>
                      </a:r>
                      <a:endParaRPr lang="zh-CN" altLang="en-US" sz="1400" b="1" i="0" u="none" strike="noStrike" kern="1200" dirty="0">
                        <a:solidFill>
                          <a:schemeClr val="dk1"/>
                        </a:solidFill>
                        <a:effectLst/>
                        <a:latin typeface="Tahoma" pitchFamily="34" charset="0"/>
                        <a:ea typeface="黑体" pitchFamily="49" charset="-122"/>
                        <a:cs typeface="Tahoma" pitchFamily="34" charset="0"/>
                      </a:endParaRPr>
                    </a:p>
                  </a:txBody>
                  <a:tcPr marL="9337" marR="9337" marT="9337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95473" rtl="0" eaLnBrk="1" fontAlgn="b" latinLnBrk="0" hangingPunct="1"/>
                      <a:r>
                        <a:rPr lang="en-US" sz="1400" b="1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Giá</a:t>
                      </a:r>
                      <a:r>
                        <a:rPr lang="en-US" sz="1400" b="1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3G/1 </a:t>
                      </a:r>
                      <a:r>
                        <a:rPr lang="en-US" sz="1400" b="1" i="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năm</a:t>
                      </a:r>
                      <a:endParaRPr lang="zh-CN" altLang="en-US" sz="1400" b="1" i="0" u="none" strike="noStrike" kern="1200" dirty="0">
                        <a:solidFill>
                          <a:schemeClr val="dk1"/>
                        </a:solidFill>
                        <a:effectLst/>
                        <a:latin typeface="Tahoma" pitchFamily="34" charset="0"/>
                        <a:ea typeface="黑体" pitchFamily="49" charset="-122"/>
                        <a:cs typeface="Tahoma" pitchFamily="34" charset="0"/>
                      </a:endParaRPr>
                    </a:p>
                  </a:txBody>
                  <a:tcPr marL="9337" marR="9337" marT="9337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95473" rtl="0" eaLnBrk="1" fontAlgn="b" latinLnBrk="0" hangingPunct="1"/>
                      <a:r>
                        <a:rPr lang="en-US" altLang="zh-CN" sz="1400" b="1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Tổng</a:t>
                      </a:r>
                      <a:endParaRPr lang="zh-CN" altLang="en-US" sz="1400" b="1" i="0" u="none" strike="noStrike" kern="1200" dirty="0">
                        <a:solidFill>
                          <a:schemeClr val="dk1"/>
                        </a:solidFill>
                        <a:effectLst/>
                        <a:latin typeface="Tahoma" pitchFamily="34" charset="0"/>
                        <a:ea typeface="黑体" pitchFamily="49" charset="-122"/>
                        <a:cs typeface="Tahoma" pitchFamily="34" charset="0"/>
                      </a:endParaRPr>
                    </a:p>
                  </a:txBody>
                  <a:tcPr marL="9337" marR="9337" marT="9337" marB="0" anchor="ctr">
                    <a:solidFill>
                      <a:srgbClr val="00B0F0"/>
                    </a:solidFill>
                  </a:tcPr>
                </a:tc>
              </a:tr>
              <a:tr h="278229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i="0" u="none" strike="noStrike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Năm</a:t>
                      </a:r>
                      <a:r>
                        <a:rPr lang="en-US" altLang="zh-CN" sz="14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altLang="zh-CN" sz="1400" b="0" i="0" u="none" strike="noStrike" baseline="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đầu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黑体" pitchFamily="49" charset="-122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300</a:t>
                      </a:r>
                      <a:r>
                        <a:rPr lang="en-US" altLang="zh-CN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960</a:t>
                      </a:r>
                      <a:r>
                        <a:rPr lang="en-US" altLang="zh-CN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600</a:t>
                      </a:r>
                      <a:r>
                        <a:rPr lang="en-US" altLang="zh-CN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800</a:t>
                      </a:r>
                      <a:r>
                        <a:rPr lang="en-US" altLang="zh-CN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</a:tr>
              <a:tr h="278229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i="0" u="none" strike="noStrike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Năm</a:t>
                      </a:r>
                      <a:r>
                        <a:rPr lang="en-US" altLang="zh-CN" sz="14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2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黑体" pitchFamily="49" charset="-122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0</a:t>
                      </a:r>
                      <a:r>
                        <a:rPr lang="en-US" altLang="zh-CN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000</a:t>
                      </a:r>
                      <a:r>
                        <a:rPr lang="en-US" altLang="zh-CN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600</a:t>
                      </a:r>
                      <a:r>
                        <a:rPr lang="en-US" altLang="zh-CN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19547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600</a:t>
                      </a:r>
                      <a:r>
                        <a:rPr lang="en-US" altLang="zh-CN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endParaRPr lang="en-US" altLang="zh-CN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表格 11"/>
          <p:cNvGraphicFramePr>
            <a:graphicFrameLocks noGrp="1"/>
          </p:cNvGraphicFramePr>
          <p:nvPr>
            <p:extLst/>
          </p:nvPr>
        </p:nvGraphicFramePr>
        <p:xfrm>
          <a:off x="5485606" y="4773462"/>
          <a:ext cx="6510294" cy="1717924"/>
        </p:xfrm>
        <a:graphic>
          <a:graphicData uri="http://schemas.openxmlformats.org/drawingml/2006/table">
            <a:tbl>
              <a:tblPr>
                <a:tableStyleId>{7DF18680-E054-41AD-8BC1-D1AEF772440D}</a:tableStyleId>
              </a:tblPr>
              <a:tblGrid>
                <a:gridCol w="1391304"/>
                <a:gridCol w="932717"/>
                <a:gridCol w="1591107"/>
                <a:gridCol w="1261911"/>
                <a:gridCol w="1333255"/>
              </a:tblGrid>
              <a:tr h="392416">
                <a:tc gridSpan="5">
                  <a:txBody>
                    <a:bodyPr/>
                    <a:lstStyle/>
                    <a:p>
                      <a:pPr marL="0" algn="ctr" defTabSz="1195473" rtl="0" eaLnBrk="1" fontAlgn="b" latinLnBrk="0" hangingPunct="1"/>
                      <a:r>
                        <a:rPr lang="en-US" altLang="zh-CN" sz="2400" b="1" i="0" kern="1200" dirty="0" err="1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Lợi</a:t>
                      </a:r>
                      <a:r>
                        <a:rPr lang="en-US" altLang="zh-CN" sz="2400" b="1" i="0" kern="1200" baseline="0" dirty="0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altLang="zh-CN" sz="2400" b="1" i="0" kern="1200" baseline="0" dirty="0" err="1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Nhuận</a:t>
                      </a:r>
                      <a:r>
                        <a:rPr lang="en-US" altLang="zh-CN" sz="2400" b="1" i="0" kern="1200" baseline="0" dirty="0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(500 </a:t>
                      </a:r>
                      <a:r>
                        <a:rPr lang="en-US" altLang="zh-CN" sz="2400" b="1" i="0" kern="1200" baseline="0" dirty="0" err="1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xe</a:t>
                      </a:r>
                      <a:r>
                        <a:rPr lang="en-US" altLang="zh-CN" sz="2400" b="1" i="0" kern="1200" baseline="0" dirty="0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)</a:t>
                      </a:r>
                      <a:endParaRPr lang="zh-CN" altLang="en-US" sz="1800" b="1" u="none" strike="noStrike" kern="1200" dirty="0">
                        <a:solidFill>
                          <a:schemeClr val="bg1"/>
                        </a:solidFill>
                        <a:effectLst/>
                        <a:latin typeface="Tahoma" pitchFamily="34" charset="0"/>
                        <a:ea typeface="黑体" pitchFamily="49" charset="-122"/>
                        <a:cs typeface="Tahoma" pitchFamily="34" charset="0"/>
                      </a:endParaRPr>
                    </a:p>
                  </a:txBody>
                  <a:tcPr marL="9337" marR="9337" marT="9337" marB="0" anchor="ctr"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1195473" rtl="0" eaLnBrk="1" fontAlgn="b" latinLnBrk="0" hangingPunct="1"/>
                      <a:endParaRPr lang="zh-CN" altLang="en-US" sz="1800" u="none" strike="noStrike" kern="1200" dirty="0"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rgbClr val="0072C8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1195473" rtl="0" eaLnBrk="1" fontAlgn="b" latinLnBrk="0" hangingPunct="1"/>
                      <a:endParaRPr lang="zh-CN" altLang="en-US" sz="1800" u="none" strike="noStrike" kern="1200" dirty="0"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rgbClr val="0072C8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1195473" rtl="0" eaLnBrk="1" fontAlgn="b" latinLnBrk="0" hangingPunct="1"/>
                      <a:endParaRPr lang="zh-CN" altLang="en-US" sz="1800" u="none" strike="noStrike" kern="1200" dirty="0"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rgbClr val="0072C8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1195473" rtl="0" eaLnBrk="1" fontAlgn="b" latinLnBrk="0" hangingPunct="1"/>
                      <a:endParaRPr lang="zh-CN" altLang="en-US" sz="1800" b="1" u="none" strike="noStrike" kern="1200" dirty="0">
                        <a:solidFill>
                          <a:schemeClr val="bg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0B050"/>
                    </a:solidFill>
                  </a:tcPr>
                </a:tc>
              </a:tr>
              <a:tr h="545953">
                <a:tc>
                  <a:txBody>
                    <a:bodyPr/>
                    <a:lstStyle/>
                    <a:p>
                      <a:pPr marL="0" algn="ctr" defTabSz="1195473" rtl="0" eaLnBrk="1" fontAlgn="b" latinLnBrk="0" hangingPunct="1"/>
                      <a:r>
                        <a:rPr lang="en-US" altLang="zh-CN" sz="1200" b="1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Năm</a:t>
                      </a:r>
                      <a:r>
                        <a:rPr lang="zh-CN" altLang="en-US" sz="12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黑体" pitchFamily="49" charset="-122"/>
                          <a:cs typeface="Tahoma" pitchFamily="34" charset="0"/>
                        </a:rPr>
                        <a:t>　</a:t>
                      </a:r>
                    </a:p>
                  </a:txBody>
                  <a:tcPr marL="9337" marR="9337" marT="9337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95473" rtl="0" eaLnBrk="1" fontAlgn="b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Chi </a:t>
                      </a:r>
                      <a:r>
                        <a:rPr lang="en-US" altLang="zh-CN" sz="1200" b="1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Phí</a:t>
                      </a:r>
                      <a:endParaRPr lang="zh-CN" altLang="en-US" sz="1200" b="1" i="0" u="none" strike="noStrike" kern="1200" dirty="0">
                        <a:solidFill>
                          <a:schemeClr val="dk1"/>
                        </a:solidFill>
                        <a:effectLst/>
                        <a:latin typeface="Tahoma" pitchFamily="34" charset="0"/>
                        <a:ea typeface="黑体" pitchFamily="49" charset="-122"/>
                        <a:cs typeface="Tahoma" pitchFamily="34" charset="0"/>
                      </a:endParaRPr>
                    </a:p>
                  </a:txBody>
                  <a:tcPr marL="9337" marR="9337" marT="9337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95473" rtl="0" eaLnBrk="1" fontAlgn="b" latinLnBrk="0" hangingPunct="1"/>
                      <a:r>
                        <a:rPr lang="en-US" altLang="zh-CN" sz="1200" b="1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Doanh</a:t>
                      </a:r>
                      <a:r>
                        <a:rPr lang="en-US" altLang="zh-CN" sz="1200" b="1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Thu</a:t>
                      </a:r>
                      <a:endParaRPr lang="zh-CN" altLang="en-US" sz="1200" b="1" i="0" u="none" strike="noStrike" kern="1200" dirty="0">
                        <a:solidFill>
                          <a:schemeClr val="dk1"/>
                        </a:solidFill>
                        <a:effectLst/>
                        <a:latin typeface="Tahoma" pitchFamily="34" charset="0"/>
                        <a:ea typeface="黑体" pitchFamily="49" charset="-122"/>
                        <a:cs typeface="Tahoma" pitchFamily="34" charset="0"/>
                      </a:endParaRPr>
                    </a:p>
                  </a:txBody>
                  <a:tcPr marL="9337" marR="9337" marT="9337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95473" rtl="0" eaLnBrk="1" fontAlgn="b" latinLnBrk="0" hangingPunct="1"/>
                      <a:r>
                        <a:rPr lang="en-US" altLang="zh-CN" sz="1200" b="1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Số</a:t>
                      </a:r>
                      <a:r>
                        <a:rPr lang="en-US" altLang="zh-CN" sz="1200" b="1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altLang="zh-CN" sz="1200" b="1" i="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Lượng</a:t>
                      </a:r>
                      <a:endParaRPr lang="zh-CN" altLang="en-US" sz="1200" b="1" i="0" u="none" strike="noStrike" kern="1200" dirty="0">
                        <a:solidFill>
                          <a:schemeClr val="dk1"/>
                        </a:solidFill>
                        <a:effectLst/>
                        <a:latin typeface="Tahoma" pitchFamily="34" charset="0"/>
                        <a:ea typeface="黑体" pitchFamily="49" charset="-122"/>
                        <a:cs typeface="Tahoma" pitchFamily="34" charset="0"/>
                      </a:endParaRPr>
                    </a:p>
                  </a:txBody>
                  <a:tcPr marL="9337" marR="9337" marT="9337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95473" rtl="0" eaLnBrk="1" fontAlgn="b" latinLnBrk="0" hangingPunct="1"/>
                      <a:r>
                        <a:rPr lang="en-US" altLang="zh-CN" sz="1200" b="1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Lợi</a:t>
                      </a:r>
                      <a:r>
                        <a:rPr lang="en-US" altLang="zh-CN" sz="1200" b="1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altLang="zh-CN" sz="1200" b="1" i="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Nhuận</a:t>
                      </a:r>
                      <a:endParaRPr lang="en-US" altLang="zh-CN" sz="1200" b="1" i="0" u="none" strike="noStrike" kern="1200" dirty="0">
                        <a:solidFill>
                          <a:schemeClr val="dk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ctr">
                    <a:solidFill>
                      <a:srgbClr val="00B0F0"/>
                    </a:solidFill>
                  </a:tcPr>
                </a:tc>
              </a:tr>
              <a:tr h="389118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Năm</a:t>
                      </a:r>
                      <a:r>
                        <a:rPr lang="en-US" altLang="zh-CN" sz="12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altLang="zh-CN" sz="1200" b="0" i="0" u="none" strike="noStrike" baseline="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đầu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黑体" pitchFamily="49" charset="-122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95473" rtl="0" eaLnBrk="1" fontAlgn="b" latinLnBrk="0" hangingPunct="1"/>
                      <a:r>
                        <a:rPr lang="en-US" altLang="zh-CN" sz="1200" u="none" strike="noStrike" kern="1200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475</a:t>
                      </a:r>
                      <a:r>
                        <a:rPr lang="en-US" altLang="zh-CN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endParaRPr lang="en-US" altLang="zh-CN" sz="1200" u="none" strike="noStrike" kern="1200" dirty="0">
                        <a:solidFill>
                          <a:schemeClr val="tx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800</a:t>
                      </a:r>
                      <a:r>
                        <a:rPr lang="en-US" altLang="zh-CN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95473" rtl="0" eaLnBrk="1" fontAlgn="b" latinLnBrk="0" hangingPunct="1"/>
                      <a:r>
                        <a:rPr lang="en-US" altLang="zh-CN" sz="1200" u="none" strike="noStrike" kern="1200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00</a:t>
                      </a:r>
                      <a:endParaRPr lang="en-US" altLang="zh-CN" sz="1200" u="none" strike="noStrike" kern="1200" dirty="0">
                        <a:solidFill>
                          <a:schemeClr val="tx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37500</a:t>
                      </a:r>
                      <a:r>
                        <a:rPr lang="en-US" altLang="zh-CN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endParaRPr lang="en-US" altLang="zh-CN" sz="1200" u="none" strike="noStrike" kern="1200" dirty="0">
                        <a:solidFill>
                          <a:schemeClr val="dk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</a:tr>
              <a:tr h="390437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Năm</a:t>
                      </a:r>
                      <a:r>
                        <a:rPr lang="en-US" altLang="zh-CN" sz="12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2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黑体" pitchFamily="49" charset="-122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95473" rtl="0" eaLnBrk="1" fontAlgn="b" latinLnBrk="0" hangingPunct="1"/>
                      <a:r>
                        <a:rPr lang="en-US" altLang="zh-CN" sz="1200" u="none" strike="noStrike" kern="1200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475</a:t>
                      </a:r>
                      <a:r>
                        <a:rPr lang="en-US" altLang="zh-CN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endParaRPr lang="en-US" altLang="zh-CN" sz="1200" u="none" strike="noStrike" kern="1200" dirty="0">
                        <a:solidFill>
                          <a:schemeClr val="tx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600</a:t>
                      </a:r>
                      <a:r>
                        <a:rPr lang="en-US" altLang="zh-CN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95473" rtl="0" eaLnBrk="1" fontAlgn="b" latinLnBrk="0" hangingPunct="1"/>
                      <a:r>
                        <a:rPr lang="en-US" altLang="zh-CN" sz="1200" u="none" strike="noStrike" kern="1200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00</a:t>
                      </a:r>
                      <a:endParaRPr lang="en-US" altLang="zh-CN" sz="1200" u="none" strike="noStrike" kern="1200" dirty="0">
                        <a:solidFill>
                          <a:schemeClr val="tx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937500</a:t>
                      </a:r>
                      <a:r>
                        <a:rPr lang="en-US" altLang="zh-CN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endParaRPr lang="en-US" altLang="zh-CN" sz="1200" u="none" strike="noStrike" kern="1200" dirty="0">
                        <a:solidFill>
                          <a:schemeClr val="dk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4" name="表格 13"/>
          <p:cNvGraphicFramePr>
            <a:graphicFrameLocks noGrp="1"/>
          </p:cNvGraphicFramePr>
          <p:nvPr>
            <p:extLst/>
          </p:nvPr>
        </p:nvGraphicFramePr>
        <p:xfrm>
          <a:off x="5485607" y="3055539"/>
          <a:ext cx="6510296" cy="1620492"/>
        </p:xfrm>
        <a:graphic>
          <a:graphicData uri="http://schemas.openxmlformats.org/drawingml/2006/table">
            <a:tbl>
              <a:tblPr>
                <a:tableStyleId>{F5AB1C69-6EDB-4FF4-983F-18BD219EF322}</a:tableStyleId>
              </a:tblPr>
              <a:tblGrid>
                <a:gridCol w="998474"/>
                <a:gridCol w="1744725"/>
                <a:gridCol w="1524000"/>
                <a:gridCol w="1066800"/>
                <a:gridCol w="1176297"/>
              </a:tblGrid>
              <a:tr h="457159">
                <a:tc gridSpan="5">
                  <a:txBody>
                    <a:bodyPr/>
                    <a:lstStyle/>
                    <a:p>
                      <a:pPr marL="0" marR="0" indent="0" algn="ctr" defTabSz="119547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4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Doanh</a:t>
                      </a:r>
                      <a:r>
                        <a:rPr lang="en-US" altLang="zh-CN" sz="24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Thu </a:t>
                      </a:r>
                      <a:r>
                        <a:rPr lang="en-US" altLang="zh-CN" sz="2400" b="1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</a:t>
                      </a:r>
                      <a:r>
                        <a:rPr lang="en-US" altLang="zh-CN" sz="2400" b="1" u="none" strike="noStrike" kern="1200" baseline="0" dirty="0" err="1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trên</a:t>
                      </a:r>
                      <a:r>
                        <a:rPr lang="en-US" altLang="zh-CN" sz="2400" b="1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altLang="zh-CN" sz="2400" b="1" u="none" strike="noStrike" kern="1200" baseline="0" dirty="0" err="1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mỗi</a:t>
                      </a:r>
                      <a:r>
                        <a:rPr lang="en-US" altLang="zh-CN" sz="2400" b="1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altLang="zh-CN" sz="2400" b="1" u="none" strike="noStrike" kern="1200" baseline="0" dirty="0" err="1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xe</a:t>
                      </a:r>
                      <a:r>
                        <a:rPr lang="en-US" altLang="zh-CN" sz="2400" b="1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/1 </a:t>
                      </a:r>
                      <a:r>
                        <a:rPr lang="en-US" altLang="zh-CN" sz="2400" b="1" u="none" strike="noStrike" kern="1200" baseline="0" dirty="0" err="1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năm</a:t>
                      </a:r>
                      <a:r>
                        <a:rPr lang="en-US" altLang="zh-CN" sz="2400" b="1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)</a:t>
                      </a:r>
                      <a:endParaRPr lang="zh-CN" altLang="en-US" sz="2400" b="1" u="none" strike="noStrike" kern="1200" dirty="0" smtClean="0">
                        <a:solidFill>
                          <a:schemeClr val="bg1"/>
                        </a:solidFill>
                        <a:effectLst/>
                        <a:latin typeface="Tahoma" pitchFamily="34" charset="0"/>
                        <a:ea typeface="黑体" pitchFamily="49" charset="-122"/>
                        <a:cs typeface="Tahoma" pitchFamily="34" charset="0"/>
                      </a:endParaRPr>
                    </a:p>
                  </a:txBody>
                  <a:tcPr marL="9337" marR="9337" marT="9337" marB="0" anchor="ctr"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CN" altLang="en-US" sz="2000" b="1" i="0" u="none" strike="noStrike" dirty="0">
                        <a:solidFill>
                          <a:schemeClr val="bg1"/>
                        </a:solidFill>
                        <a:effectLst/>
                        <a:latin typeface="黑体" pitchFamily="49" charset="-122"/>
                        <a:ea typeface="黑体" pitchFamily="49" charset="-122"/>
                      </a:endParaRPr>
                    </a:p>
                  </a:txBody>
                  <a:tcPr marL="9525" marR="9525" marT="9525" marB="0" anchor="ctr">
                    <a:solidFill>
                      <a:srgbClr val="00B050"/>
                    </a:solidFill>
                  </a:tcPr>
                </a:tc>
              </a:tr>
              <a:tr h="606875">
                <a:tc>
                  <a:txBody>
                    <a:bodyPr/>
                    <a:lstStyle/>
                    <a:p>
                      <a:pPr marL="0" algn="ctr" defTabSz="1195473" rtl="0" eaLnBrk="1" fontAlgn="b" latinLnBrk="0" hangingPunct="1"/>
                      <a:r>
                        <a:rPr lang="en-US" altLang="zh-CN" sz="1400" b="1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Năm</a:t>
                      </a:r>
                      <a:r>
                        <a:rPr lang="zh-CN" altLang="en-US" sz="14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黑体" pitchFamily="49" charset="-122"/>
                          <a:cs typeface="Tahoma" pitchFamily="34" charset="0"/>
                        </a:rPr>
                        <a:t>　</a:t>
                      </a:r>
                    </a:p>
                  </a:txBody>
                  <a:tcPr marL="9337" marR="9337" marT="9337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 b="1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Thu </a:t>
                      </a:r>
                      <a:r>
                        <a:rPr lang="en-US" altLang="zh-CN" sz="1400" b="1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nhập</a:t>
                      </a:r>
                      <a:r>
                        <a:rPr lang="en-US" altLang="zh-CN" sz="1400" b="1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/1</a:t>
                      </a:r>
                      <a:r>
                        <a:rPr lang="en-US" altLang="zh-CN" sz="1400" b="1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altLang="zh-CN" sz="1400" b="1" i="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ngày</a:t>
                      </a:r>
                      <a:endParaRPr lang="en-US" altLang="zh-CN" sz="1400" b="1" i="0" kern="1200" dirty="0">
                        <a:solidFill>
                          <a:schemeClr val="dk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1" i="0" kern="120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Tỷ</a:t>
                      </a:r>
                      <a:r>
                        <a:rPr lang="en-US" altLang="zh-CN" sz="1400" b="1" i="0" kern="1200" baseline="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altLang="zh-CN" sz="1400" b="1" i="0" kern="1200" baseline="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lệ</a:t>
                      </a:r>
                      <a:r>
                        <a:rPr lang="en-US" altLang="zh-CN" sz="1400" b="1" i="0" kern="1200" baseline="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altLang="zh-CN" sz="1400" b="1" i="0" kern="1200" baseline="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trượt</a:t>
                      </a:r>
                      <a:r>
                        <a:rPr lang="en-US" altLang="zh-CN" sz="1400" b="1" i="0" kern="1200" baseline="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altLang="zh-CN" sz="1400" b="1" i="0" kern="1200" baseline="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giá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黑体" pitchFamily="49" charset="-122"/>
                        <a:cs typeface="Tahoma" pitchFamily="34" charset="0"/>
                      </a:endParaRPr>
                    </a:p>
                  </a:txBody>
                  <a:tcPr marL="9337" marR="9337" marT="9337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Số</a:t>
                      </a:r>
                      <a:r>
                        <a:rPr lang="en-US" altLang="zh-CN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altLang="zh-CN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ngày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黑体" pitchFamily="49" charset="-122"/>
                        <a:cs typeface="Tahoma" pitchFamily="34" charset="0"/>
                      </a:endParaRPr>
                    </a:p>
                  </a:txBody>
                  <a:tcPr marL="9337" marR="9337" marT="9337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Tổng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黑体" pitchFamily="49" charset="-122"/>
                        <a:cs typeface="Tahoma" pitchFamily="34" charset="0"/>
                      </a:endParaRPr>
                    </a:p>
                  </a:txBody>
                  <a:tcPr marL="9337" marR="9337" marT="9337" marB="0" anchor="ctr">
                    <a:solidFill>
                      <a:srgbClr val="00B0F0"/>
                    </a:solidFill>
                  </a:tcPr>
                </a:tc>
              </a:tr>
              <a:tr h="278229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i="0" u="none" strike="noStrike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Năm</a:t>
                      </a:r>
                      <a:r>
                        <a:rPr lang="en-US" altLang="zh-CN" sz="14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altLang="zh-CN" sz="1400" b="0" i="0" u="none" strike="noStrike" baseline="0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đầu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黑体" pitchFamily="49" charset="-122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00</a:t>
                      </a:r>
                      <a:r>
                        <a:rPr lang="en-US" altLang="zh-CN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%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65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95473" rtl="0" eaLnBrk="1" fontAlgn="b" latinLnBrk="0" hangingPunct="1"/>
                      <a:r>
                        <a:rPr lang="en-US" altLang="zh-CN" sz="1400" u="none" strike="noStrike" kern="1200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475</a:t>
                      </a:r>
                      <a:r>
                        <a:rPr lang="en-US" altLang="zh-CN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endParaRPr lang="en-US" altLang="zh-CN" sz="1400" u="none" strike="noStrike" kern="1200" dirty="0">
                        <a:solidFill>
                          <a:schemeClr val="tx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</a:tr>
              <a:tr h="278229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i="0" u="none" strike="noStrike" dirty="0" err="1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Năm</a:t>
                      </a:r>
                      <a:r>
                        <a:rPr lang="en-US" altLang="zh-CN" sz="14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2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黑体" pitchFamily="49" charset="-122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00</a:t>
                      </a:r>
                      <a:r>
                        <a:rPr lang="en-US" altLang="zh-CN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%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65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95473" rtl="0" eaLnBrk="1" fontAlgn="b" latinLnBrk="0" hangingPunct="1"/>
                      <a:r>
                        <a:rPr lang="en-US" altLang="zh-CN" sz="1400" u="none" strike="noStrike" kern="1200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475</a:t>
                      </a:r>
                      <a:r>
                        <a:rPr lang="en-US" altLang="zh-CN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endParaRPr lang="en-US" altLang="zh-CN" sz="1400" u="none" strike="noStrike" kern="1200" dirty="0">
                        <a:solidFill>
                          <a:schemeClr val="tx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337" marR="9337" marT="9337" marB="0" anchor="b">
                    <a:solidFill>
                      <a:srgbClr val="00B0F0"/>
                    </a:solidFill>
                  </a:tcPr>
                </a:tc>
              </a:tr>
            </a:tbl>
          </a:graphicData>
        </a:graphic>
      </p:graphicFrame>
      <p:pic>
        <p:nvPicPr>
          <p:cNvPr id="1025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ackgroundRemoval t="0" b="97455" l="0" r="8577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217745" y="2756769"/>
            <a:ext cx="2703392" cy="2324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矩形 16"/>
          <p:cNvSpPr/>
          <p:nvPr/>
        </p:nvSpPr>
        <p:spPr>
          <a:xfrm>
            <a:off x="1987126" y="3354308"/>
            <a:ext cx="3803279" cy="16541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171803">
              <a:lnSpc>
                <a:spcPct val="150000"/>
              </a:lnSpc>
            </a:pPr>
            <a:r>
              <a:rPr lang="en-US" altLang="zh-CN" sz="2352" b="1" spc="-15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ăm</a:t>
            </a:r>
            <a:r>
              <a:rPr lang="en-US" altLang="zh-CN" sz="2352" b="1" spc="-15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352" b="1" spc="-15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ầu</a:t>
            </a:r>
            <a:r>
              <a:rPr lang="en-US" altLang="zh-CN" sz="2352" b="1" spc="-15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   </a:t>
            </a:r>
            <a:r>
              <a:rPr lang="en-US" altLang="zh-CN" sz="2352" b="1" spc="-150" dirty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37.500</a:t>
            </a:r>
            <a:r>
              <a:rPr lang="zh-CN" altLang="en-US" sz="2352" b="1" spc="-150" dirty="0">
                <a:solidFill>
                  <a:srgbClr val="FF0000"/>
                </a:solidFill>
                <a:latin typeface="Tahoma" pitchFamily="34" charset="0"/>
                <a:ea typeface="黑体" pitchFamily="49" charset="-122"/>
                <a:cs typeface="Tahoma" pitchFamily="34" charset="0"/>
              </a:rPr>
              <a:t> </a:t>
            </a:r>
            <a:r>
              <a:rPr lang="en-US" altLang="zh-CN" sz="2352" spc="-150" dirty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$</a:t>
            </a:r>
            <a:endParaRPr lang="en-US" altLang="zh-CN" sz="2352" b="1" spc="-150" dirty="0">
              <a:solidFill>
                <a:srgbClr val="FF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defTabSz="1171803">
              <a:lnSpc>
                <a:spcPct val="150000"/>
              </a:lnSpc>
            </a:pPr>
            <a:r>
              <a:rPr lang="en-US" altLang="zh-CN" sz="2352" b="1" spc="-15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ăm</a:t>
            </a:r>
            <a:r>
              <a:rPr lang="en-US" altLang="zh-CN" sz="2352" b="1" spc="-15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352" b="1" spc="-15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ứ</a:t>
            </a:r>
            <a:r>
              <a:rPr lang="en-US" altLang="zh-CN" sz="2352" b="1" spc="-15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2</a:t>
            </a:r>
            <a:r>
              <a:rPr lang="zh-CN" altLang="en-US" sz="2352" b="1" spc="-150" dirty="0" smtClean="0">
                <a:solidFill>
                  <a:prstClr val="black"/>
                </a:solidFill>
                <a:latin typeface="Tahoma" pitchFamily="34" charset="0"/>
                <a:ea typeface="黑体" pitchFamily="49" charset="-122"/>
                <a:cs typeface="Tahoma" pitchFamily="34" charset="0"/>
              </a:rPr>
              <a:t>：</a:t>
            </a:r>
            <a:r>
              <a:rPr lang="en-US" altLang="zh-CN" sz="2352" b="1" spc="-150" dirty="0" smtClean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1.937.500 </a:t>
            </a:r>
            <a:r>
              <a:rPr lang="en-US" altLang="zh-CN" sz="2352" spc="-150" dirty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$</a:t>
            </a:r>
          </a:p>
          <a:p>
            <a:pPr defTabSz="1171803">
              <a:lnSpc>
                <a:spcPct val="150000"/>
              </a:lnSpc>
            </a:pPr>
            <a:endParaRPr lang="zh-CN" altLang="en-US" sz="2352" b="1" dirty="0">
              <a:solidFill>
                <a:prstClr val="black"/>
              </a:solidFill>
              <a:latin typeface="Tahoma" pitchFamily="34" charset="0"/>
              <a:ea typeface="黑体" pitchFamily="49" charset="-122"/>
              <a:cs typeface="Tahoma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482105" y="1038845"/>
            <a:ext cx="1955760" cy="112039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5" dist="22860" dir="5400000" algn="ctr" rotWithShape="0">
              <a:srgbClr val="000000">
                <a:alpha val="35000"/>
              </a:srgbClr>
            </a:outerShdw>
          </a:effectLst>
        </p:spPr>
        <p:txBody>
          <a:bodyPr vert="horz" wrap="square" lIns="91380" tIns="45690" rIns="1005186" bIns="4569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2pPr marL="0" marR="0" lvl="1" indent="0" defTabSz="699219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900" b="1" i="0" u="none" strike="noStrike" kern="0" cap="none" spc="0" normalizeH="0" baseline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 Light" pitchFamily="34" charset="0"/>
              </a:defRPr>
            </a:lvl2pPr>
          </a:lstStyle>
          <a:p>
            <a:pPr defTabSz="1171803"/>
            <a:endParaRPr lang="zh-CN" altLang="en-US" sz="2352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96123" y="1038845"/>
            <a:ext cx="1866743" cy="112039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5" dist="22860" dir="5400000" algn="ctr" rotWithShape="0">
              <a:srgbClr val="000000">
                <a:alpha val="35000"/>
              </a:srgbClr>
            </a:outerShdw>
          </a:effectLst>
        </p:spPr>
        <p:txBody>
          <a:bodyPr vert="horz" wrap="square" lIns="91380" tIns="45690" rIns="1005186" bIns="4569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2pPr marL="0" marR="0" lvl="1" indent="0" defTabSz="699219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900" b="1" i="0" u="none" strike="noStrike" kern="0" cap="none" spc="0" normalizeH="0" baseline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 Light" pitchFamily="34" charset="0"/>
              </a:defRPr>
            </a:lvl2pPr>
          </a:lstStyle>
          <a:p>
            <a:pPr defTabSz="1171803"/>
            <a:endParaRPr lang="zh-CN" altLang="en-US" sz="2352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441649" y="1038845"/>
            <a:ext cx="1955760" cy="112039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5" dist="22860" dir="5400000" algn="ctr" rotWithShape="0">
              <a:srgbClr val="000000">
                <a:alpha val="35000"/>
              </a:srgbClr>
            </a:outerShdw>
          </a:effectLst>
        </p:spPr>
        <p:txBody>
          <a:bodyPr vert="horz" wrap="square" lIns="91380" tIns="45690" rIns="1005186" bIns="4569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2pPr marL="0" marR="0" lvl="1" indent="0" defTabSz="699219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900" b="1" i="0" u="none" strike="noStrike" kern="0" cap="none" spc="0" normalizeH="0" baseline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 Light" pitchFamily="34" charset="0"/>
              </a:defRPr>
            </a:lvl2pPr>
          </a:lstStyle>
          <a:p>
            <a:pPr defTabSz="1171803"/>
            <a:endParaRPr lang="zh-CN" altLang="en-US" sz="2352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4757622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组合 10"/>
          <p:cNvGrpSpPr/>
          <p:nvPr/>
        </p:nvGrpSpPr>
        <p:grpSpPr>
          <a:xfrm>
            <a:off x="-29566" y="-7782"/>
            <a:ext cx="12219978" cy="1045979"/>
            <a:chOff x="-30163" y="-7938"/>
            <a:chExt cx="12466637" cy="1066802"/>
          </a:xfrm>
        </p:grpSpPr>
        <p:pic>
          <p:nvPicPr>
            <p:cNvPr id="13" name="Picture 9" descr="C:\Users\mitchelld\Desktop\iStock_000001759899Mediu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2953" b="10764"/>
            <a:stretch/>
          </p:blipFill>
          <p:spPr bwMode="auto">
            <a:xfrm>
              <a:off x="10932393" y="1"/>
              <a:ext cx="1504081" cy="1058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Rectangle 55"/>
            <p:cNvSpPr/>
            <p:nvPr/>
          </p:nvSpPr>
          <p:spPr bwMode="auto">
            <a:xfrm>
              <a:off x="-30163" y="-3967"/>
              <a:ext cx="1631516" cy="1062831"/>
            </a:xfrm>
            <a:prstGeom prst="rect">
              <a:avLst/>
            </a:prstGeom>
            <a:solidFill>
              <a:srgbClr val="0072C6"/>
            </a:solidFill>
            <a:ln w="1079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513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kern="0" dirty="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  <a:latin typeface="Segoe UI"/>
              </a:endParaRPr>
            </a:p>
            <a:p>
              <a:pPr algn="ctr" defTabSz="89513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3500" b="1" kern="0" dirty="0" err="1">
                  <a:gradFill>
                    <a:gsLst>
                      <a:gs pos="1250">
                        <a:srgbClr val="EFEFEF"/>
                      </a:gs>
                      <a:gs pos="10417">
                        <a:srgbClr val="EFEFEF"/>
                      </a:gs>
                    </a:gsLst>
                    <a:lin ang="5400000" scaled="0"/>
                  </a:gradFill>
                </a:rPr>
                <a:t>Dahua</a:t>
              </a:r>
              <a:endParaRPr lang="en-US" sz="3500" b="1" kern="0" dirty="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5" name="Rectangle 24"/>
            <p:cNvSpPr/>
            <p:nvPr/>
          </p:nvSpPr>
          <p:spPr bwMode="auto">
            <a:xfrm>
              <a:off x="1601353" y="-7938"/>
              <a:ext cx="9331040" cy="1066800"/>
            </a:xfrm>
            <a:prstGeom prst="rect">
              <a:avLst/>
            </a:prstGeom>
            <a:solidFill>
              <a:srgbClr val="505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60" tIns="46630" rIns="93260" bIns="9326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14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800" kern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1569669" y="262605"/>
            <a:ext cx="7736390" cy="633715"/>
          </a:xfrm>
          <a:prstGeom prst="rect">
            <a:avLst/>
          </a:prstGeom>
          <a:noFill/>
        </p:spPr>
        <p:txBody>
          <a:bodyPr wrap="square" lIns="89598" tIns="44798" rIns="89598" bIns="44798" rtlCol="0">
            <a:spAutoFit/>
          </a:bodyPr>
          <a:lstStyle/>
          <a:p>
            <a:pPr lvl="1"/>
            <a:r>
              <a:rPr lang="en-US" altLang="zh-CN" sz="35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Ệ THỐNG GIÁM SÁT</a:t>
            </a:r>
            <a:endParaRPr lang="en-US" sz="35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69679" y="1030049"/>
            <a:ext cx="9146421" cy="5461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716094" y="6510908"/>
            <a:ext cx="1474323" cy="36578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163" tIns="143330" rIns="179163" bIns="14333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 defTabSz="91357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  <a:latin typeface="Segoe UI"/>
              </a:defRPr>
            </a:lvl1pPr>
          </a:lstStyle>
          <a:p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-29565" y="6510908"/>
            <a:ext cx="1599236" cy="36578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163" tIns="143330" rIns="179163" bIns="14333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 defTabSz="91357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  <a:latin typeface="Segoe UI"/>
              </a:defRPr>
            </a:lvl1pPr>
          </a:lstStyle>
          <a:p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2898321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标题 75"/>
          <p:cNvSpPr txBox="1">
            <a:spLocks/>
          </p:cNvSpPr>
          <p:nvPr/>
        </p:nvSpPr>
        <p:spPr>
          <a:xfrm>
            <a:off x="1168248" y="365129"/>
            <a:ext cx="10184074" cy="563080"/>
          </a:xfrm>
          <a:prstGeom prst="rect">
            <a:avLst/>
          </a:prstGeom>
        </p:spPr>
        <p:txBody>
          <a:bodyPr vert="horz" lIns="91242" tIns="45618" rIns="91242" bIns="45618" rtlCol="0" anchor="ctr">
            <a:normAutofit fontScale="25000" lnSpcReduction="20000"/>
          </a:bodyPr>
          <a:lstStyle>
            <a:lvl1pPr algn="l" defTabSz="9127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2247">
              <a:defRPr/>
            </a:pPr>
            <a:r>
              <a:rPr lang="en-US" altLang="zh-CN" sz="14400" b="1" dirty="0" smtClean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Ự ÁN XE BUÝT TẠI PHÁP</a:t>
            </a:r>
            <a:endParaRPr lang="zh-CN" altLang="en-US" sz="16000" b="1" dirty="0">
              <a:solidFill>
                <a:sysClr val="windowText" lastClr="000000">
                  <a:lumMod val="65000"/>
                  <a:lumOff val="35000"/>
                </a:sysClr>
              </a:solidFill>
              <a:latin typeface="Tahoma" pitchFamily="34" charset="0"/>
              <a:ea typeface="微软雅黑" panose="020B0503020204020204" pitchFamily="34" charset="-122"/>
              <a:cs typeface="Tahoma" pitchFamily="34" charset="0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0" y="2667000"/>
            <a:ext cx="5303440" cy="2349290"/>
          </a:xfrm>
          <a:prstGeom prst="rect">
            <a:avLst/>
          </a:prstGeom>
        </p:spPr>
        <p:txBody>
          <a:bodyPr wrap="square" lIns="121848" tIns="60925" rIns="121848" bIns="60925">
            <a:spAutoFit/>
          </a:bodyPr>
          <a:lstStyle/>
          <a:p>
            <a:pPr marL="285750" lvl="0" indent="-285750" algn="just" fontAlgn="base">
              <a:buFont typeface="Arial" panose="020B0604020202020204" pitchFamily="34" charset="0"/>
              <a:buChar char="•"/>
            </a:pPr>
            <a:r>
              <a:rPr lang="en-US" altLang="zh-CN" sz="23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Quy</a:t>
            </a:r>
            <a:r>
              <a:rPr lang="en-US" altLang="zh-CN" sz="23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3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mô</a:t>
            </a:r>
            <a:r>
              <a:rPr lang="en-US" altLang="zh-CN" sz="23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3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của</a:t>
            </a:r>
            <a:r>
              <a:rPr lang="en-US" altLang="zh-CN" sz="23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3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dự</a:t>
            </a:r>
            <a:r>
              <a:rPr lang="en-US" altLang="zh-CN" sz="23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3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án</a:t>
            </a:r>
            <a:r>
              <a:rPr lang="en-US" altLang="zh-CN" sz="23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: 350 </a:t>
            </a:r>
            <a:r>
              <a:rPr lang="en-US" altLang="zh-CN" sz="23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xe</a:t>
            </a:r>
            <a:r>
              <a:rPr lang="en-US" altLang="zh-CN" sz="23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3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buýt</a:t>
            </a:r>
            <a:r>
              <a:rPr lang="en-US" altLang="zh-CN" sz="23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3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mới</a:t>
            </a:r>
            <a:r>
              <a:rPr lang="en-US" altLang="zh-CN" sz="23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</a:p>
          <a:p>
            <a:pPr marL="285750" lvl="0" indent="-285750" algn="just" fontAlgn="base">
              <a:buFont typeface="Arial" panose="020B0604020202020204" pitchFamily="34" charset="0"/>
              <a:buChar char="•"/>
            </a:pPr>
            <a:r>
              <a:rPr lang="en-US" altLang="zh-CN" sz="23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350 </a:t>
            </a:r>
            <a:r>
              <a:rPr lang="en-US" altLang="zh-CN" sz="23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bộ</a:t>
            </a:r>
            <a:r>
              <a:rPr lang="en-US" altLang="zh-CN" sz="23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3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altLang="zh-CN" sz="23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3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altLang="zh-CN" sz="23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NVR </a:t>
            </a:r>
            <a:r>
              <a:rPr lang="en-US" altLang="zh-CN" sz="23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và</a:t>
            </a:r>
            <a:r>
              <a:rPr lang="en-US" altLang="zh-CN" sz="23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3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altLang="zh-CN" sz="23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3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altLang="zh-CN" sz="23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3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lưu</a:t>
            </a:r>
            <a:r>
              <a:rPr lang="en-US" altLang="zh-CN" sz="23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3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rữ</a:t>
            </a:r>
            <a:r>
              <a:rPr lang="en-US" altLang="zh-CN" sz="23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, </a:t>
            </a:r>
            <a:endParaRPr lang="zh-CN" altLang="zh-CN" sz="2300" b="1" dirty="0">
              <a:latin typeface="Tahoma" pitchFamily="34" charset="0"/>
              <a:cs typeface="Tahoma" pitchFamily="34" charset="0"/>
            </a:endParaRPr>
          </a:p>
          <a:p>
            <a:pPr marL="285750" lvl="0" indent="-285750" algn="just" fontAlgn="base">
              <a:buFont typeface="Arial" panose="020B0604020202020204" pitchFamily="34" charset="0"/>
              <a:buChar char="•"/>
            </a:pPr>
            <a:r>
              <a:rPr lang="en-US" altLang="zh-CN" sz="2300" b="1" dirty="0">
                <a:latin typeface="Tahoma" pitchFamily="34" charset="0"/>
                <a:ea typeface="Tahoma" pitchFamily="34" charset="0"/>
                <a:cs typeface="Tahoma" pitchFamily="34" charset="0"/>
              </a:rPr>
              <a:t>1200 </a:t>
            </a:r>
            <a:r>
              <a:rPr lang="en-US" altLang="zh-CN" sz="23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camera. </a:t>
            </a:r>
            <a:endParaRPr lang="zh-CN" altLang="zh-CN" sz="2300" b="1" dirty="0">
              <a:latin typeface="Tahoma" pitchFamily="34" charset="0"/>
              <a:cs typeface="Tahoma" pitchFamily="34" charset="0"/>
            </a:endParaRPr>
          </a:p>
          <a:p>
            <a:pPr marL="285610" indent="-285610">
              <a:spcBef>
                <a:spcPts val="800"/>
              </a:spcBef>
              <a:buFont typeface="Arial" pitchFamily="34" charset="0"/>
              <a:buChar char="•"/>
            </a:pPr>
            <a:endParaRPr lang="zh-CN" altLang="en-US" sz="2300" dirty="0">
              <a:solidFill>
                <a:prstClr val="black">
                  <a:lumMod val="65000"/>
                  <a:lumOff val="35000"/>
                </a:prstClr>
              </a:solidFill>
              <a:latin typeface="Tahoma" pitchFamily="34" charset="0"/>
              <a:ea typeface="微软雅黑" panose="020B0503020204020204" pitchFamily="34" charset="-122"/>
              <a:cs typeface="Tahoma" pitchFamily="34" charset="0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203174" y="-16516"/>
            <a:ext cx="832024" cy="944725"/>
          </a:xfrm>
          <a:prstGeom prst="rect">
            <a:avLst/>
          </a:prstGeom>
          <a:solidFill>
            <a:schemeClr val="tx1">
              <a:lumMod val="65000"/>
              <a:lumOff val="3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74" tIns="45686" rIns="91374" bIns="4568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83"/>
            <a:endParaRPr lang="zh-CN" altLang="en-US" sz="28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/>
          <p:cNvPicPr/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75126" y="1772816"/>
            <a:ext cx="5631034" cy="4321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85296811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标题 75"/>
          <p:cNvSpPr txBox="1">
            <a:spLocks/>
          </p:cNvSpPr>
          <p:nvPr/>
        </p:nvSpPr>
        <p:spPr>
          <a:xfrm>
            <a:off x="1168248" y="365129"/>
            <a:ext cx="10184074" cy="563080"/>
          </a:xfrm>
          <a:prstGeom prst="rect">
            <a:avLst/>
          </a:prstGeom>
        </p:spPr>
        <p:txBody>
          <a:bodyPr vert="horz" lIns="91242" tIns="45618" rIns="91242" bIns="45618" rtlCol="0" anchor="ctr">
            <a:normAutofit fontScale="92500" lnSpcReduction="20000"/>
          </a:bodyPr>
          <a:lstStyle>
            <a:lvl1pPr algn="l" defTabSz="9127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2247">
              <a:defRPr/>
            </a:pPr>
            <a:r>
              <a:rPr lang="en-US" altLang="zh-CN" b="1" dirty="0" smtClean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Ự ÁN XE ĐIỆN CÔNG CỘNG TẠI NGA</a:t>
            </a:r>
            <a:endParaRPr lang="zh-CN" altLang="en-US" sz="16000" b="1" dirty="0">
              <a:solidFill>
                <a:sysClr val="windowText" lastClr="000000">
                  <a:lumMod val="65000"/>
                  <a:lumOff val="35000"/>
                </a:sysClr>
              </a:solidFill>
              <a:latin typeface="Tahoma" pitchFamily="34" charset="0"/>
              <a:ea typeface="微软雅黑" panose="020B0503020204020204" pitchFamily="34" charset="-122"/>
              <a:cs typeface="Tahoma" pitchFamily="34" charset="0"/>
            </a:endParaRPr>
          </a:p>
        </p:txBody>
      </p:sp>
      <p:sp>
        <p:nvSpPr>
          <p:cNvPr id="17" name="文本框 141"/>
          <p:cNvSpPr txBox="1"/>
          <p:nvPr/>
        </p:nvSpPr>
        <p:spPr>
          <a:xfrm>
            <a:off x="647339" y="1550341"/>
            <a:ext cx="3735416" cy="1200329"/>
          </a:xfrm>
          <a:prstGeom prst="rect">
            <a:avLst/>
          </a:prstGeom>
          <a:noFill/>
        </p:spPr>
        <p:txBody>
          <a:bodyPr wrap="square" lIns="91242" tIns="45618" rIns="91242" bIns="45618" rtlCol="0">
            <a:spAutoFit/>
          </a:bodyPr>
          <a:lstStyle/>
          <a:p>
            <a:r>
              <a:rPr lang="en-US" altLang="zh-CN" sz="7200" b="1" dirty="0">
                <a:solidFill>
                  <a:srgbClr val="FFC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000</a:t>
            </a:r>
            <a:endParaRPr lang="zh-CN" altLang="en-US" sz="7200" b="1" dirty="0">
              <a:solidFill>
                <a:srgbClr val="FFC000"/>
              </a:solidFill>
              <a:latin typeface="Tahoma" pitchFamily="34" charset="0"/>
              <a:ea typeface="微软雅黑" panose="020B0503020204020204" pitchFamily="34" charset="-122"/>
              <a:cs typeface="Tahoma" pitchFamily="34" charset="0"/>
            </a:endParaRPr>
          </a:p>
        </p:txBody>
      </p:sp>
      <p:sp>
        <p:nvSpPr>
          <p:cNvPr id="18" name="文本框 211"/>
          <p:cNvSpPr txBox="1"/>
          <p:nvPr/>
        </p:nvSpPr>
        <p:spPr>
          <a:xfrm>
            <a:off x="456406" y="2623985"/>
            <a:ext cx="2799794" cy="1015457"/>
          </a:xfrm>
          <a:prstGeom prst="rect">
            <a:avLst/>
          </a:prstGeom>
          <a:noFill/>
        </p:spPr>
        <p:txBody>
          <a:bodyPr wrap="square" lIns="91242" tIns="45618" rIns="91242" bIns="45618" rtlCol="0">
            <a:spAutoFit/>
          </a:bodyPr>
          <a:lstStyle/>
          <a:p>
            <a:r>
              <a:rPr lang="en-US" altLang="zh-CN" sz="15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ổng</a:t>
            </a:r>
            <a:r>
              <a:rPr lang="en-US" altLang="zh-CN" sz="15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5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ộng</a:t>
            </a:r>
            <a:r>
              <a:rPr lang="en-US" altLang="zh-CN" sz="15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3000 </a:t>
            </a:r>
            <a:r>
              <a:rPr lang="en-US" altLang="zh-CN" sz="15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altLang="zh-CN" sz="15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5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altLang="zh-CN" sz="15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DVR</a:t>
            </a:r>
          </a:p>
          <a:p>
            <a:r>
              <a:rPr lang="en-US" altLang="zh-CN" sz="15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</a:t>
            </a:r>
            <a:r>
              <a:rPr lang="en-US" altLang="zh-CN" sz="15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iai</a:t>
            </a:r>
            <a:r>
              <a:rPr lang="en-US" altLang="zh-CN" sz="15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5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oạn</a:t>
            </a:r>
            <a:r>
              <a:rPr lang="en-US" altLang="zh-CN" sz="15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1: 1300 </a:t>
            </a:r>
            <a:r>
              <a:rPr lang="en-US" altLang="zh-CN" sz="15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altLang="zh-CN" sz="15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5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altLang="zh-CN" sz="15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 </a:t>
            </a:r>
            <a:r>
              <a:rPr lang="en-US" altLang="zh-CN" sz="15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iai</a:t>
            </a:r>
            <a:r>
              <a:rPr lang="en-US" altLang="zh-CN" sz="15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5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oạn</a:t>
            </a:r>
            <a:r>
              <a:rPr lang="en-US" altLang="zh-CN" sz="15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2: 1700 </a:t>
            </a:r>
            <a:r>
              <a:rPr lang="en-US" altLang="zh-CN" sz="15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altLang="zh-CN" sz="15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5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altLang="zh-CN" sz="15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</a:p>
        </p:txBody>
      </p:sp>
      <p:cxnSp>
        <p:nvCxnSpPr>
          <p:cNvPr id="19" name="直接连接符 18"/>
          <p:cNvCxnSpPr/>
          <p:nvPr/>
        </p:nvCxnSpPr>
        <p:spPr>
          <a:xfrm>
            <a:off x="7605545" y="1611392"/>
            <a:ext cx="0" cy="2731661"/>
          </a:xfrm>
          <a:prstGeom prst="line">
            <a:avLst/>
          </a:prstGeom>
          <a:noFill/>
          <a:ln w="571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ysDot"/>
            <a:miter lim="800000"/>
          </a:ln>
          <a:effectLst/>
        </p:spPr>
      </p:cxnSp>
      <p:sp>
        <p:nvSpPr>
          <p:cNvPr id="20" name="矩形 19"/>
          <p:cNvSpPr/>
          <p:nvPr/>
        </p:nvSpPr>
        <p:spPr>
          <a:xfrm>
            <a:off x="550595" y="4653136"/>
            <a:ext cx="9964211" cy="1908144"/>
          </a:xfrm>
          <a:prstGeom prst="rect">
            <a:avLst/>
          </a:prstGeom>
        </p:spPr>
        <p:txBody>
          <a:bodyPr wrap="square" lIns="121848" tIns="60925" rIns="121848" bIns="60925">
            <a:spAutoFit/>
          </a:bodyPr>
          <a:lstStyle/>
          <a:p>
            <a:pPr marL="285610" indent="-285610" algn="just">
              <a:spcBef>
                <a:spcPts val="800"/>
              </a:spcBef>
              <a:buFont typeface="Arial" pitchFamily="34" charset="0"/>
              <a:buChar char="•"/>
            </a:pP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ối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ác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 Moscow Trolley Bus (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ông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Ty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Xe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iện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Moscow)</a:t>
            </a:r>
            <a:endParaRPr lang="en-US" sz="1600" b="1" dirty="0">
              <a:solidFill>
                <a:prstClr val="black">
                  <a:lumMod val="65000"/>
                  <a:lumOff val="3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610" indent="-285610" algn="just">
              <a:spcBef>
                <a:spcPts val="800"/>
              </a:spcBef>
              <a:buFont typeface="Arial" pitchFamily="34" charset="0"/>
              <a:buChar char="•"/>
            </a:pP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ô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ả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ự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Án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ung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ấp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ầu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u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i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ộng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DVR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ho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ệ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ống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xe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iện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ập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ệ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ống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iám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át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</a:p>
          <a:p>
            <a:pPr marL="285610" indent="-285610" algn="just">
              <a:spcBef>
                <a:spcPts val="800"/>
              </a:spcBef>
              <a:buFont typeface="Arial" pitchFamily="34" charset="0"/>
              <a:buChar char="•"/>
            </a:pP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iá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ị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ự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Án</a:t>
            </a: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 </a:t>
            </a:r>
            <a:r>
              <a:rPr lang="en-US" altLang="zh-CN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ổng</a:t>
            </a:r>
            <a:r>
              <a:rPr lang="en-US" altLang="zh-CN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ộng</a:t>
            </a:r>
            <a:r>
              <a:rPr lang="en-US" altLang="zh-CN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3000 </a:t>
            </a:r>
            <a:r>
              <a:rPr lang="en-US" altLang="zh-CN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altLang="zh-CN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altLang="zh-CN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DVR (</a:t>
            </a:r>
            <a:r>
              <a:rPr lang="en-US" altLang="zh-CN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iai</a:t>
            </a:r>
            <a:r>
              <a:rPr lang="en-US" altLang="zh-CN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oạn</a:t>
            </a:r>
            <a:r>
              <a:rPr lang="en-US" altLang="zh-CN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1: 1300 </a:t>
            </a:r>
            <a:r>
              <a:rPr lang="en-US" altLang="zh-CN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altLang="zh-CN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altLang="zh-CN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 </a:t>
            </a:r>
            <a:r>
              <a:rPr lang="en-US" altLang="zh-CN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iai</a:t>
            </a:r>
            <a:r>
              <a:rPr lang="en-US" altLang="zh-CN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oạn</a:t>
            </a:r>
            <a:r>
              <a:rPr lang="en-US" altLang="zh-CN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2: 1700 </a:t>
            </a:r>
            <a:r>
              <a:rPr lang="en-US" altLang="zh-CN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altLang="zh-CN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6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altLang="zh-CN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  <a:endParaRPr lang="zh-CN" altLang="en-US" sz="1600" b="1" dirty="0" smtClean="0">
              <a:solidFill>
                <a:prstClr val="black">
                  <a:lumMod val="65000"/>
                  <a:lumOff val="35000"/>
                </a:prstClr>
              </a:solidFill>
              <a:latin typeface="Tahoma" pitchFamily="34" charset="0"/>
              <a:ea typeface="微软雅黑" panose="020B0503020204020204" pitchFamily="34" charset="-122"/>
              <a:cs typeface="Tahoma" pitchFamily="34" charset="0"/>
            </a:endParaRPr>
          </a:p>
          <a:p>
            <a:pPr marL="285610" indent="-285610" algn="just">
              <a:spcBef>
                <a:spcPts val="800"/>
              </a:spcBef>
              <a:buFont typeface="Arial" pitchFamily="34" charset="0"/>
              <a:buChar char="•"/>
            </a:pPr>
            <a:r>
              <a:rPr lang="en-US" sz="16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odel: DH-DVR0404ME-HE(GLONASS)</a:t>
            </a:r>
            <a:endParaRPr lang="zh-CN" altLang="en-US" sz="1600" b="1" dirty="0">
              <a:solidFill>
                <a:prstClr val="black">
                  <a:lumMod val="65000"/>
                  <a:lumOff val="35000"/>
                </a:prstClr>
              </a:solidFill>
              <a:latin typeface="Tahoma" pitchFamily="34" charset="0"/>
              <a:ea typeface="微软雅黑" panose="020B0503020204020204" pitchFamily="34" charset="-122"/>
              <a:cs typeface="Tahoma" pitchFamily="34" charset="0"/>
            </a:endParaRP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08898" y="1594845"/>
            <a:ext cx="3638436" cy="2693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967415" y="1594853"/>
            <a:ext cx="3610119" cy="2693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3" name="矩形 22"/>
          <p:cNvSpPr/>
          <p:nvPr/>
        </p:nvSpPr>
        <p:spPr>
          <a:xfrm>
            <a:off x="203174" y="-16516"/>
            <a:ext cx="832024" cy="944725"/>
          </a:xfrm>
          <a:prstGeom prst="rect">
            <a:avLst/>
          </a:prstGeom>
          <a:solidFill>
            <a:schemeClr val="tx1">
              <a:lumMod val="65000"/>
              <a:lumOff val="3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74" tIns="45686" rIns="91374" bIns="4568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83"/>
            <a:endParaRPr lang="zh-CN" altLang="en-US" sz="2800" b="1" dirty="0">
              <a:solidFill>
                <a:prstClr val="white"/>
              </a:solidFill>
              <a:latin typeface="Tahoma" pitchFamily="34" charset="0"/>
              <a:ea typeface="微软雅黑" panose="020B0503020204020204" pitchFamily="34" charset="-122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4731785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圖片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-16933"/>
            <a:ext cx="12190413" cy="6874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127249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-43" y="198858"/>
            <a:ext cx="11098392" cy="56348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en-US" altLang="zh-CN" sz="3200" b="1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IÁM SÁT PHƯƠNG TIỆN </a:t>
            </a:r>
            <a:r>
              <a:rPr lang="zh-CN" altLang="en-US" sz="3200" b="1" dirty="0" smtClean="0">
                <a:solidFill>
                  <a:srgbClr val="000000"/>
                </a:solidFill>
                <a:latin typeface="Tahoma" pitchFamily="34" charset="0"/>
                <a:ea typeface="微软雅黑" pitchFamily="34" charset="-122"/>
                <a:cs typeface="Tahoma" pitchFamily="34" charset="0"/>
              </a:rPr>
              <a:t>｜</a:t>
            </a:r>
            <a:r>
              <a:rPr lang="en-US" altLang="zh-CN" sz="3200" b="1" dirty="0" smtClean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GIẢI PHÁP CHO XE BUÝT</a:t>
            </a:r>
            <a:endParaRPr lang="zh-CN" altLang="en-US" sz="3200" b="1" dirty="0">
              <a:solidFill>
                <a:srgbClr val="FF0000"/>
              </a:solidFill>
              <a:latin typeface="Tahoma" pitchFamily="34" charset="0"/>
              <a:ea typeface="微软雅黑" pitchFamily="34" charset="-122"/>
              <a:cs typeface="Tahoma" pitchFamily="34" charset="0"/>
            </a:endParaRPr>
          </a:p>
          <a:p>
            <a:pPr algn="l">
              <a:defRPr/>
            </a:pPr>
            <a:endParaRPr lang="zh-CN" altLang="en-US" sz="3200" b="1" dirty="0">
              <a:solidFill>
                <a:srgbClr val="000000"/>
              </a:solidFill>
              <a:latin typeface="Tahoma" pitchFamily="34" charset="0"/>
              <a:ea typeface="微软雅黑" pitchFamily="34" charset="-122"/>
              <a:cs typeface="Tahoma" pitchFamily="34" charset="0"/>
            </a:endParaRPr>
          </a:p>
        </p:txBody>
      </p:sp>
      <p:grpSp>
        <p:nvGrpSpPr>
          <p:cNvPr id="49" name="组合 48"/>
          <p:cNvGrpSpPr/>
          <p:nvPr/>
        </p:nvGrpSpPr>
        <p:grpSpPr>
          <a:xfrm>
            <a:off x="406574" y="908720"/>
            <a:ext cx="11047638" cy="4857151"/>
            <a:chOff x="285720" y="714362"/>
            <a:chExt cx="8286808" cy="3643338"/>
          </a:xfrm>
        </p:grpSpPr>
        <p:sp>
          <p:nvSpPr>
            <p:cNvPr id="19" name="圆角矩形 18"/>
            <p:cNvSpPr/>
            <p:nvPr/>
          </p:nvSpPr>
          <p:spPr>
            <a:xfrm>
              <a:off x="5786446" y="1857370"/>
              <a:ext cx="2786082" cy="2500330"/>
            </a:xfrm>
            <a:prstGeom prst="roundRect">
              <a:avLst/>
            </a:prstGeom>
            <a:solidFill>
              <a:schemeClr val="bg1"/>
            </a:solidFill>
            <a:ln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533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" name="圆角矩形 3"/>
            <p:cNvSpPr/>
            <p:nvPr/>
          </p:nvSpPr>
          <p:spPr>
            <a:xfrm>
              <a:off x="285720" y="1285866"/>
              <a:ext cx="3714776" cy="3071834"/>
            </a:xfrm>
            <a:prstGeom prst="roundRect">
              <a:avLst/>
            </a:prstGeom>
            <a:solidFill>
              <a:schemeClr val="bg1"/>
            </a:solidFill>
            <a:ln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533"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3" cstate="print">
              <a:grayscl/>
            </a:blip>
            <a:srcRect/>
            <a:stretch>
              <a:fillRect/>
            </a:stretch>
          </p:blipFill>
          <p:spPr bwMode="auto">
            <a:xfrm>
              <a:off x="1147153" y="3071816"/>
              <a:ext cx="2067525" cy="8860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5" name="Picture 5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857356" y="1785932"/>
              <a:ext cx="625480" cy="3949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6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627280" y="3000378"/>
              <a:ext cx="332556" cy="214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12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7270222" y="2928940"/>
              <a:ext cx="642942" cy="2212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7341660" y="3357568"/>
              <a:ext cx="571504" cy="2445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5"/>
            <p:cNvPicPr>
              <a:picLocks noChangeAspect="1" noChangeArrowheads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286248" y="2500312"/>
              <a:ext cx="557216" cy="9286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130" descr="图形1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0628" y="2857502"/>
              <a:ext cx="744618" cy="4286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2" descr="C:\Documents and Settings\Administrator\桌面\内部发布\油罐车视频监控联网visio原图\A4 油罐车视频监控联网解决方案基础版V1.0\A4 油罐车视频监控联网解决方案基础版V1.0.jpg"/>
            <p:cNvPicPr>
              <a:picLocks noChangeAspect="1" noChangeArrowheads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72198" y="2857502"/>
              <a:ext cx="307293" cy="490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TextBox 109"/>
            <p:cNvSpPr txBox="1">
              <a:spLocks noChangeArrowheads="1"/>
            </p:cNvSpPr>
            <p:nvPr/>
          </p:nvSpPr>
          <p:spPr bwMode="auto">
            <a:xfrm>
              <a:off x="4143372" y="3500444"/>
              <a:ext cx="1042668" cy="2308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16" tIns="60959" rIns="121916" bIns="60959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 eaLnBrk="1" hangingPunct="1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Base Station </a:t>
              </a:r>
            </a:p>
          </p:txBody>
        </p:sp>
        <p:sp>
          <p:nvSpPr>
            <p:cNvPr id="13" name="TextBox 109"/>
            <p:cNvSpPr txBox="1">
              <a:spLocks noChangeArrowheads="1"/>
            </p:cNvSpPr>
            <p:nvPr/>
          </p:nvSpPr>
          <p:spPr bwMode="auto">
            <a:xfrm>
              <a:off x="4357686" y="2714626"/>
              <a:ext cx="1042668" cy="2308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16" tIns="60959" rIns="121916" bIns="60959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 eaLnBrk="1" hangingPunct="1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3G/4G</a:t>
              </a:r>
            </a:p>
          </p:txBody>
        </p:sp>
        <p:sp>
          <p:nvSpPr>
            <p:cNvPr id="14" name="矩形 13"/>
            <p:cNvSpPr/>
            <p:nvPr/>
          </p:nvSpPr>
          <p:spPr>
            <a:xfrm>
              <a:off x="1294775" y="1804614"/>
              <a:ext cx="560563" cy="2077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just"/>
              <a:r>
                <a:rPr lang="en-US" altLang="zh-CN" sz="1200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Đầu</a:t>
              </a:r>
              <a:r>
                <a:rPr lang="en-US" altLang="zh-CN" sz="1200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Ghi</a:t>
              </a:r>
              <a:endParaRPr lang="en-US" altLang="zh-CN" sz="1200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5" name="矩形 14"/>
            <p:cNvSpPr/>
            <p:nvPr/>
          </p:nvSpPr>
          <p:spPr>
            <a:xfrm>
              <a:off x="7967408" y="3857634"/>
              <a:ext cx="431906" cy="2077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just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Client</a:t>
              </a:r>
            </a:p>
          </p:txBody>
        </p:sp>
        <p:sp>
          <p:nvSpPr>
            <p:cNvPr id="16" name="矩形 15"/>
            <p:cNvSpPr/>
            <p:nvPr/>
          </p:nvSpPr>
          <p:spPr>
            <a:xfrm>
              <a:off x="5181482" y="2947763"/>
              <a:ext cx="387176" cy="2077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just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WAN</a:t>
              </a:r>
            </a:p>
          </p:txBody>
        </p:sp>
        <p:pic>
          <p:nvPicPr>
            <p:cNvPr id="1027" name="Picture 3"/>
            <p:cNvPicPr>
              <a:picLocks noChangeAspect="1"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4214810" y="714362"/>
              <a:ext cx="948334" cy="6429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8" name="Picture 9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7341660" y="3786196"/>
              <a:ext cx="500066" cy="3434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" name="Picture 15"/>
            <p:cNvPicPr>
              <a:picLocks noChangeAspect="1" noChangeArrowheads="1"/>
            </p:cNvPicPr>
            <p:nvPr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214414" y="2428874"/>
              <a:ext cx="500066" cy="285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1" name="Picture 21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571472" y="2428874"/>
              <a:ext cx="377829" cy="3351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" name="Picture 15"/>
            <p:cNvPicPr>
              <a:picLocks noChangeAspect="1" noChangeArrowheads="1"/>
            </p:cNvPicPr>
            <p:nvPr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857356" y="2357436"/>
              <a:ext cx="500066" cy="285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23" name="直接连接符 22"/>
            <p:cNvCxnSpPr>
              <a:stCxn id="5" idx="2"/>
              <a:endCxn id="21" idx="0"/>
            </p:cNvCxnSpPr>
            <p:nvPr/>
          </p:nvCxnSpPr>
          <p:spPr>
            <a:xfrm rot="5400000">
              <a:off x="1341245" y="1600023"/>
              <a:ext cx="247994" cy="1409709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连接符 25"/>
            <p:cNvCxnSpPr>
              <a:stCxn id="22" idx="0"/>
              <a:endCxn id="5" idx="2"/>
            </p:cNvCxnSpPr>
            <p:nvPr/>
          </p:nvCxnSpPr>
          <p:spPr>
            <a:xfrm rot="5400000" flipH="1" flipV="1">
              <a:off x="2050464" y="2237805"/>
              <a:ext cx="176556" cy="62707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/>
            <p:cNvCxnSpPr>
              <a:stCxn id="20" idx="0"/>
              <a:endCxn id="5" idx="2"/>
            </p:cNvCxnSpPr>
            <p:nvPr/>
          </p:nvCxnSpPr>
          <p:spPr>
            <a:xfrm rot="5400000" flipH="1" flipV="1">
              <a:off x="1693274" y="1952053"/>
              <a:ext cx="247994" cy="705649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28" name="Picture 4"/>
            <p:cNvPicPr>
              <a:picLocks noChangeAspect="1" noChangeArrowheads="1"/>
            </p:cNvPicPr>
            <p:nvPr/>
          </p:nvPicPr>
          <p:blipFill>
            <a:blip r:embed="rId15"/>
            <a:srcRect/>
            <a:stretch>
              <a:fillRect/>
            </a:stretch>
          </p:blipFill>
          <p:spPr bwMode="auto">
            <a:xfrm>
              <a:off x="3857620" y="1071552"/>
              <a:ext cx="642942" cy="733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029" name="Picture 5"/>
            <p:cNvPicPr>
              <a:picLocks noChangeAspect="1" noChangeArrowheads="1"/>
            </p:cNvPicPr>
            <p:nvPr/>
          </p:nvPicPr>
          <p:blipFill>
            <a:blip r:embed="rId15"/>
            <a:srcRect/>
            <a:stretch>
              <a:fillRect/>
            </a:stretch>
          </p:blipFill>
          <p:spPr bwMode="auto">
            <a:xfrm>
              <a:off x="3500430" y="2786064"/>
              <a:ext cx="857256" cy="733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cxnSp>
          <p:nvCxnSpPr>
            <p:cNvPr id="34" name="直接连接符 33"/>
            <p:cNvCxnSpPr>
              <a:stCxn id="10" idx="3"/>
              <a:endCxn id="11" idx="1"/>
            </p:cNvCxnSpPr>
            <p:nvPr/>
          </p:nvCxnSpPr>
          <p:spPr>
            <a:xfrm>
              <a:off x="5745246" y="3071816"/>
              <a:ext cx="326952" cy="30899"/>
            </a:xfrm>
            <a:prstGeom prst="line">
              <a:avLst/>
            </a:prstGeom>
            <a:ln w="22225">
              <a:solidFill>
                <a:srgbClr val="EAB2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直接连接符 36"/>
            <p:cNvCxnSpPr>
              <a:stCxn id="6" idx="3"/>
              <a:endCxn id="7" idx="1"/>
            </p:cNvCxnSpPr>
            <p:nvPr/>
          </p:nvCxnSpPr>
          <p:spPr>
            <a:xfrm flipV="1">
              <a:off x="6959836" y="3039580"/>
              <a:ext cx="310386" cy="67955"/>
            </a:xfrm>
            <a:prstGeom prst="line">
              <a:avLst/>
            </a:prstGeom>
            <a:ln w="22225">
              <a:solidFill>
                <a:srgbClr val="EAB2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接连接符 40"/>
            <p:cNvCxnSpPr>
              <a:stCxn id="6" idx="3"/>
              <a:endCxn id="8" idx="1"/>
            </p:cNvCxnSpPr>
            <p:nvPr/>
          </p:nvCxnSpPr>
          <p:spPr>
            <a:xfrm>
              <a:off x="6959836" y="3107535"/>
              <a:ext cx="381824" cy="372323"/>
            </a:xfrm>
            <a:prstGeom prst="line">
              <a:avLst/>
            </a:prstGeom>
            <a:ln w="22225">
              <a:solidFill>
                <a:srgbClr val="EAB2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接连接符 43"/>
            <p:cNvCxnSpPr>
              <a:stCxn id="18" idx="1"/>
              <a:endCxn id="6" idx="3"/>
            </p:cNvCxnSpPr>
            <p:nvPr/>
          </p:nvCxnSpPr>
          <p:spPr>
            <a:xfrm rot="10800000">
              <a:off x="6959836" y="3107535"/>
              <a:ext cx="381824" cy="850362"/>
            </a:xfrm>
            <a:prstGeom prst="line">
              <a:avLst/>
            </a:prstGeom>
            <a:ln w="22225">
              <a:solidFill>
                <a:srgbClr val="EAB2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直接连接符 47"/>
            <p:cNvCxnSpPr>
              <a:stCxn id="6" idx="1"/>
              <a:endCxn id="11" idx="3"/>
            </p:cNvCxnSpPr>
            <p:nvPr/>
          </p:nvCxnSpPr>
          <p:spPr>
            <a:xfrm rot="10800000">
              <a:off x="6379492" y="3102715"/>
              <a:ext cx="247789" cy="4820"/>
            </a:xfrm>
            <a:prstGeom prst="line">
              <a:avLst/>
            </a:prstGeom>
            <a:ln w="22225">
              <a:solidFill>
                <a:srgbClr val="EAB2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30" name="Picture 6"/>
            <p:cNvPicPr>
              <a:picLocks noChangeAspect="1" noChangeArrowheads="1"/>
            </p:cNvPicPr>
            <p:nvPr/>
          </p:nvPicPr>
          <p:blipFill>
            <a:blip r:embed="rId16"/>
            <a:srcRect/>
            <a:stretch>
              <a:fillRect/>
            </a:stretch>
          </p:blipFill>
          <p:spPr bwMode="auto">
            <a:xfrm>
              <a:off x="3071802" y="1928808"/>
              <a:ext cx="500066" cy="3672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cxnSp>
          <p:nvCxnSpPr>
            <p:cNvPr id="52" name="直接连接符 51"/>
            <p:cNvCxnSpPr>
              <a:stCxn id="5" idx="3"/>
              <a:endCxn id="1030" idx="1"/>
            </p:cNvCxnSpPr>
            <p:nvPr/>
          </p:nvCxnSpPr>
          <p:spPr>
            <a:xfrm>
              <a:off x="2482836" y="1983406"/>
              <a:ext cx="588966" cy="12902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35"/>
            <p:cNvSpPr txBox="1">
              <a:spLocks noChangeArrowheads="1"/>
            </p:cNvSpPr>
            <p:nvPr/>
          </p:nvSpPr>
          <p:spPr bwMode="auto">
            <a:xfrm>
              <a:off x="6429388" y="2786064"/>
              <a:ext cx="667875" cy="2308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16" tIns="60959" rIns="121916" bIns="60959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eaLnBrk="1" hangingPunct="1"/>
              <a:r>
                <a:rPr lang="en-US" altLang="zh-CN" sz="1200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Bộ</a:t>
              </a:r>
              <a:r>
                <a:rPr lang="en-US" altLang="zh-CN" sz="1200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Chia</a:t>
              </a:r>
              <a:endParaRPr lang="en-US" altLang="zh-CN" sz="1200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56" name="矩形 55"/>
            <p:cNvSpPr/>
            <p:nvPr/>
          </p:nvSpPr>
          <p:spPr>
            <a:xfrm>
              <a:off x="7995521" y="2857502"/>
              <a:ext cx="473894" cy="2077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just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DSS-M</a:t>
              </a:r>
            </a:p>
          </p:txBody>
        </p:sp>
        <p:sp>
          <p:nvSpPr>
            <p:cNvPr id="57" name="矩形 56"/>
            <p:cNvSpPr/>
            <p:nvPr/>
          </p:nvSpPr>
          <p:spPr>
            <a:xfrm>
              <a:off x="8001937" y="3357568"/>
              <a:ext cx="541325" cy="2077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just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Storage</a:t>
              </a:r>
            </a:p>
          </p:txBody>
        </p:sp>
        <p:sp>
          <p:nvSpPr>
            <p:cNvPr id="58" name="TextBox 109"/>
            <p:cNvSpPr txBox="1">
              <a:spLocks noChangeArrowheads="1"/>
            </p:cNvSpPr>
            <p:nvPr/>
          </p:nvSpPr>
          <p:spPr bwMode="auto">
            <a:xfrm>
              <a:off x="642910" y="2143122"/>
              <a:ext cx="1042668" cy="2308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16" tIns="60959" rIns="121916" bIns="60959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 eaLnBrk="1" hangingPunct="1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Camera</a:t>
              </a:r>
            </a:p>
          </p:txBody>
        </p:sp>
        <p:sp>
          <p:nvSpPr>
            <p:cNvPr id="59" name="TextBox 109"/>
            <p:cNvSpPr txBox="1">
              <a:spLocks noChangeArrowheads="1"/>
            </p:cNvSpPr>
            <p:nvPr/>
          </p:nvSpPr>
          <p:spPr bwMode="auto">
            <a:xfrm>
              <a:off x="2928926" y="2285998"/>
              <a:ext cx="1042668" cy="2308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16" tIns="60959" rIns="121916" bIns="60959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 eaLnBrk="1" hangingPunct="1"/>
              <a:r>
                <a:rPr lang="en-US" altLang="zh-CN" sz="1200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Màn</a:t>
              </a:r>
              <a:r>
                <a:rPr lang="en-US" altLang="zh-CN" sz="1200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Hình</a:t>
              </a:r>
              <a:endParaRPr lang="en-US" altLang="zh-CN" sz="1200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60" name="TextBox 109"/>
            <p:cNvSpPr txBox="1">
              <a:spLocks noChangeArrowheads="1"/>
            </p:cNvSpPr>
            <p:nvPr/>
          </p:nvSpPr>
          <p:spPr bwMode="auto">
            <a:xfrm>
              <a:off x="4357686" y="1285866"/>
              <a:ext cx="1042668" cy="2308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16" tIns="60959" rIns="121916" bIns="60959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 eaLnBrk="1" hangingPunct="1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GPS</a:t>
              </a:r>
            </a:p>
          </p:txBody>
        </p:sp>
        <p:sp>
          <p:nvSpPr>
            <p:cNvPr id="61" name="TextBox 38"/>
            <p:cNvSpPr txBox="1">
              <a:spLocks noChangeArrowheads="1"/>
            </p:cNvSpPr>
            <p:nvPr/>
          </p:nvSpPr>
          <p:spPr bwMode="auto">
            <a:xfrm>
              <a:off x="5929322" y="3357568"/>
              <a:ext cx="829516" cy="2308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16" tIns="60959" rIns="121916" bIns="60959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eaLnBrk="1" hangingPunct="1"/>
              <a:r>
                <a:rPr lang="en-US" altLang="zh-CN" sz="1200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Tường</a:t>
              </a:r>
              <a:r>
                <a:rPr lang="en-US" altLang="zh-CN" sz="1200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Lửa</a:t>
              </a:r>
              <a:r>
                <a:rPr lang="en-US" altLang="zh-CN" sz="1200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endParaRPr lang="en-US" altLang="zh-CN" sz="1200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62" name="TextBox 143384"/>
            <p:cNvSpPr txBox="1">
              <a:spLocks noChangeArrowheads="1"/>
            </p:cNvSpPr>
            <p:nvPr/>
          </p:nvSpPr>
          <p:spPr bwMode="auto">
            <a:xfrm>
              <a:off x="5857884" y="2214560"/>
              <a:ext cx="1571636" cy="246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21916" tIns="60959" rIns="121916" bIns="60959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eaLnBrk="1" hangingPunct="1"/>
              <a:r>
                <a:rPr lang="en-US" altLang="zh-CN" sz="1333" b="1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Trung</a:t>
              </a:r>
              <a:r>
                <a:rPr lang="en-US" altLang="zh-CN" sz="1333" b="1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333" b="1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Tâm</a:t>
              </a:r>
              <a:r>
                <a:rPr lang="en-US" altLang="zh-CN" sz="1333" b="1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333" b="1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Giám</a:t>
              </a:r>
              <a:r>
                <a:rPr lang="en-US" altLang="zh-CN" sz="1333" b="1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333" b="1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Sát</a:t>
              </a:r>
              <a:endParaRPr lang="en-US" altLang="zh-CN" sz="1333" b="1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63" name="TextBox 143384"/>
            <p:cNvSpPr txBox="1">
              <a:spLocks noChangeArrowheads="1"/>
            </p:cNvSpPr>
            <p:nvPr/>
          </p:nvSpPr>
          <p:spPr bwMode="auto">
            <a:xfrm>
              <a:off x="428596" y="1785932"/>
              <a:ext cx="785818" cy="246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21916" tIns="60959" rIns="121916" bIns="60959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eaLnBrk="1" hangingPunct="1"/>
              <a:r>
                <a:rPr lang="en-US" altLang="zh-CN" sz="1333" b="1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Trên</a:t>
              </a:r>
              <a:r>
                <a:rPr lang="en-US" altLang="zh-CN" sz="1333" b="1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333" b="1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Xe</a:t>
              </a:r>
              <a:endParaRPr lang="en-US" altLang="zh-CN" sz="1333" b="1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cxnSp>
          <p:nvCxnSpPr>
            <p:cNvPr id="65" name="直接连接符 64"/>
            <p:cNvCxnSpPr>
              <a:stCxn id="7" idx="0"/>
            </p:cNvCxnSpPr>
            <p:nvPr/>
          </p:nvCxnSpPr>
          <p:spPr>
            <a:xfrm rot="5400000" flipH="1" flipV="1">
              <a:off x="7591260" y="2804929"/>
              <a:ext cx="124445" cy="123579"/>
            </a:xfrm>
            <a:prstGeom prst="line">
              <a:avLst/>
            </a:prstGeom>
            <a:ln w="22225">
              <a:solidFill>
                <a:srgbClr val="EAB2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31" name="Picture 7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7358082" y="2214560"/>
              <a:ext cx="777561" cy="628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72" name="Picture 6"/>
            <p:cNvPicPr>
              <a:picLocks noChangeAspect="1" noChangeArrowheads="1"/>
            </p:cNvPicPr>
            <p:nvPr/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714612" y="2399684"/>
              <a:ext cx="197909" cy="3149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0" name="TextBox 109"/>
            <p:cNvSpPr txBox="1">
              <a:spLocks noChangeArrowheads="1"/>
            </p:cNvSpPr>
            <p:nvPr/>
          </p:nvSpPr>
          <p:spPr bwMode="auto">
            <a:xfrm>
              <a:off x="2285984" y="2643188"/>
              <a:ext cx="1042668" cy="369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16" tIns="60959" rIns="121916" bIns="60959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 eaLnBrk="1" hangingPunct="1"/>
              <a:r>
                <a:rPr lang="en-US" altLang="zh-CN" sz="1200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Nút</a:t>
              </a:r>
              <a:r>
                <a:rPr lang="en-US" altLang="zh-CN" sz="1200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Báo</a:t>
              </a:r>
              <a:r>
                <a:rPr lang="en-US" altLang="zh-CN" sz="1200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Khẩn</a:t>
              </a:r>
              <a:r>
                <a:rPr lang="en-US" altLang="zh-CN" sz="1200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Cấp</a:t>
              </a:r>
              <a:endParaRPr lang="en-US" altLang="zh-CN" sz="1200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cxnSp>
          <p:nvCxnSpPr>
            <p:cNvPr id="81" name="直接连接符 80"/>
            <p:cNvCxnSpPr>
              <a:stCxn id="5" idx="2"/>
              <a:endCxn id="72" idx="1"/>
            </p:cNvCxnSpPr>
            <p:nvPr/>
          </p:nvCxnSpPr>
          <p:spPr>
            <a:xfrm rot="16200000" flipH="1">
              <a:off x="2254214" y="2096762"/>
              <a:ext cx="376280" cy="544516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xmlns="" val="286887452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artisticBlur radius="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3" y="-11945"/>
            <a:ext cx="12190413" cy="6869953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 bwMode="auto">
          <a:xfrm>
            <a:off x="2353675" y="5682831"/>
            <a:ext cx="9836751" cy="122888"/>
          </a:xfrm>
          <a:prstGeom prst="rect">
            <a:avLst/>
          </a:prstGeom>
          <a:solidFill>
            <a:srgbClr val="FFC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636" tIns="60819" rIns="121636" bIns="60819" rtlCol="0" anchor="ctr"/>
          <a:lstStyle/>
          <a:p>
            <a:pPr algn="ctr"/>
            <a:endParaRPr lang="en-US" sz="43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8" name="矩形 67"/>
          <p:cNvSpPr/>
          <p:nvPr/>
        </p:nvSpPr>
        <p:spPr bwMode="auto">
          <a:xfrm>
            <a:off x="2234907" y="2384571"/>
            <a:ext cx="7415836" cy="2263633"/>
          </a:xfrm>
          <a:prstGeom prst="rect">
            <a:avLst/>
          </a:prstGeom>
          <a:solidFill>
            <a:schemeClr val="tx1">
              <a:lumMod val="65000"/>
              <a:lumOff val="35000"/>
              <a:alpha val="84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182472" tIns="45626" rIns="91246" bIns="91246" rtlCol="0" anchor="b" anchorCtr="0"/>
          <a:lstStyle/>
          <a:p>
            <a:pPr algn="ctr" defTabSz="912027" fontAlgn="base">
              <a:spcBef>
                <a:spcPct val="0"/>
              </a:spcBef>
              <a:spcAft>
                <a:spcPct val="0"/>
              </a:spcAft>
            </a:pPr>
            <a:endParaRPr lang="en-US" sz="1600" spc="-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70" name="图片 6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234911" y="2384582"/>
            <a:ext cx="7415836" cy="2252169"/>
          </a:xfrm>
          <a:prstGeom prst="rect">
            <a:avLst/>
          </a:prstGeom>
        </p:spPr>
      </p:pic>
      <p:cxnSp>
        <p:nvCxnSpPr>
          <p:cNvPr id="98" name="直接连接符 97"/>
          <p:cNvCxnSpPr/>
          <p:nvPr/>
        </p:nvCxnSpPr>
        <p:spPr>
          <a:xfrm flipH="1" flipV="1">
            <a:off x="2134797" y="2182806"/>
            <a:ext cx="458187" cy="702569"/>
          </a:xfrm>
          <a:prstGeom prst="line">
            <a:avLst/>
          </a:prstGeom>
          <a:ln w="2222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直接连接符 101"/>
          <p:cNvCxnSpPr/>
          <p:nvPr/>
        </p:nvCxnSpPr>
        <p:spPr>
          <a:xfrm>
            <a:off x="3384148" y="4518173"/>
            <a:ext cx="385964" cy="259947"/>
          </a:xfrm>
          <a:prstGeom prst="line">
            <a:avLst/>
          </a:prstGeom>
          <a:ln w="2222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矩形 114"/>
          <p:cNvSpPr/>
          <p:nvPr/>
        </p:nvSpPr>
        <p:spPr bwMode="auto">
          <a:xfrm>
            <a:off x="-33850" y="1285768"/>
            <a:ext cx="9836751" cy="118456"/>
          </a:xfrm>
          <a:prstGeom prst="rect">
            <a:avLst/>
          </a:prstGeom>
          <a:solidFill>
            <a:srgbClr val="FFC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636" tIns="60819" rIns="121636" bIns="60819" rtlCol="0" anchor="ctr"/>
          <a:lstStyle/>
          <a:p>
            <a:pPr algn="ctr"/>
            <a:endParaRPr lang="en-US" sz="43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0" name="文本框 119"/>
          <p:cNvSpPr txBox="1"/>
          <p:nvPr/>
        </p:nvSpPr>
        <p:spPr>
          <a:xfrm>
            <a:off x="9997939" y="5909238"/>
            <a:ext cx="2217979" cy="430602"/>
          </a:xfrm>
          <a:prstGeom prst="rect">
            <a:avLst/>
          </a:prstGeom>
          <a:noFill/>
        </p:spPr>
        <p:txBody>
          <a:bodyPr wrap="square" lIns="121636" tIns="60819" rIns="121636" bIns="60819" rtlCol="0">
            <a:spAutoFit/>
          </a:bodyPr>
          <a:lstStyle>
            <a:defPPr>
              <a:defRPr lang="zh-CN"/>
            </a:defPPr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20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Cửa</a:t>
            </a:r>
            <a:r>
              <a:rPr lang="en-US" sz="2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20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Sau</a:t>
            </a:r>
            <a:endParaRPr lang="en-US" sz="20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1" name="文本框 120"/>
          <p:cNvSpPr txBox="1"/>
          <p:nvPr/>
        </p:nvSpPr>
        <p:spPr>
          <a:xfrm>
            <a:off x="16961" y="381000"/>
            <a:ext cx="1049045" cy="738379"/>
          </a:xfrm>
          <a:prstGeom prst="rect">
            <a:avLst/>
          </a:prstGeom>
          <a:noFill/>
        </p:spPr>
        <p:txBody>
          <a:bodyPr wrap="square" lIns="121636" tIns="60819" rIns="121636" bIns="60819" rtlCol="0">
            <a:spAutoFit/>
          </a:bodyPr>
          <a:lstStyle/>
          <a:p>
            <a:r>
              <a:rPr lang="en-US" altLang="zh-CN" sz="20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ên</a:t>
            </a:r>
            <a:r>
              <a:rPr lang="en-US" altLang="zh-CN" sz="20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r>
              <a:rPr lang="en-US" sz="20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goài</a:t>
            </a:r>
            <a:endParaRPr lang="en-US" sz="20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8" name="文本框 127"/>
          <p:cNvSpPr txBox="1"/>
          <p:nvPr/>
        </p:nvSpPr>
        <p:spPr>
          <a:xfrm>
            <a:off x="9219406" y="533400"/>
            <a:ext cx="2217979" cy="738379"/>
          </a:xfrm>
          <a:prstGeom prst="rect">
            <a:avLst/>
          </a:prstGeom>
          <a:noFill/>
        </p:spPr>
        <p:txBody>
          <a:bodyPr wrap="square" lIns="121636" tIns="60819" rIns="121636" bIns="60819" rtlCol="0">
            <a:spAutoFit/>
          </a:bodyPr>
          <a:lstStyle>
            <a:defPPr>
              <a:defRPr lang="zh-CN"/>
            </a:defPPr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altLang="zh-CN" sz="20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Bên</a:t>
            </a:r>
            <a:r>
              <a:rPr lang="en-US" altLang="zh-CN" sz="2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rong</a:t>
            </a:r>
            <a:endParaRPr lang="en-US" altLang="zh-CN" sz="2000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en-US" altLang="zh-CN" sz="2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Xe</a:t>
            </a:r>
            <a:r>
              <a:rPr lang="en-US" altLang="zh-CN" sz="2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Buýt</a:t>
            </a:r>
            <a:endParaRPr lang="en-US" sz="20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9" name="文本框 128"/>
          <p:cNvSpPr txBox="1"/>
          <p:nvPr/>
        </p:nvSpPr>
        <p:spPr>
          <a:xfrm>
            <a:off x="1099135" y="5949881"/>
            <a:ext cx="2217979" cy="430875"/>
          </a:xfrm>
          <a:prstGeom prst="rect">
            <a:avLst/>
          </a:prstGeom>
          <a:noFill/>
        </p:spPr>
        <p:txBody>
          <a:bodyPr wrap="square" lIns="121636" tIns="60819" rIns="121636" bIns="60819" rtlCol="0">
            <a:spAutoFit/>
          </a:bodyPr>
          <a:lstStyle>
            <a:defPPr>
              <a:defRPr lang="zh-CN"/>
            </a:defPPr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altLang="zh-CN" sz="20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Cửa</a:t>
            </a:r>
            <a:r>
              <a:rPr lang="en-US" altLang="zh-CN" sz="2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0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rước</a:t>
            </a:r>
            <a:endParaRPr lang="en-US" sz="20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30" name="文本框 129"/>
          <p:cNvSpPr txBox="1"/>
          <p:nvPr/>
        </p:nvSpPr>
        <p:spPr>
          <a:xfrm>
            <a:off x="5331628" y="3239382"/>
            <a:ext cx="1474711" cy="697627"/>
          </a:xfrm>
          <a:prstGeom prst="rect">
            <a:avLst/>
          </a:prstGeom>
          <a:noFill/>
        </p:spPr>
        <p:txBody>
          <a:bodyPr wrap="square" lIns="121636" tIns="60819" rIns="121636" bIns="60819" rtlCol="0">
            <a:spAutoFit/>
          </a:bodyPr>
          <a:lstStyle>
            <a:defPPr>
              <a:defRPr lang="zh-CN"/>
            </a:defPPr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altLang="zh-CN" sz="3700" dirty="0">
                <a:latin typeface="Tahoma" pitchFamily="34" charset="0"/>
                <a:ea typeface="Tahoma" pitchFamily="34" charset="0"/>
                <a:cs typeface="Tahoma" pitchFamily="34" charset="0"/>
              </a:rPr>
              <a:t>BUS</a:t>
            </a:r>
            <a:endParaRPr lang="en-US" sz="37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36" name="直接连接符 35"/>
          <p:cNvCxnSpPr/>
          <p:nvPr/>
        </p:nvCxnSpPr>
        <p:spPr>
          <a:xfrm>
            <a:off x="6959302" y="4334959"/>
            <a:ext cx="1687826" cy="795852"/>
          </a:xfrm>
          <a:prstGeom prst="line">
            <a:avLst/>
          </a:prstGeom>
          <a:ln w="2222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直接连接符 98"/>
          <p:cNvCxnSpPr/>
          <p:nvPr/>
        </p:nvCxnSpPr>
        <p:spPr>
          <a:xfrm flipV="1">
            <a:off x="3770108" y="2083905"/>
            <a:ext cx="1918752" cy="1209371"/>
          </a:xfrm>
          <a:prstGeom prst="line">
            <a:avLst/>
          </a:prstGeom>
          <a:ln w="2222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27435" y="4778125"/>
            <a:ext cx="2973755" cy="1891251"/>
          </a:xfrm>
          <a:prstGeom prst="rect">
            <a:avLst/>
          </a:prstGeom>
          <a:ln w="9525">
            <a:solidFill>
              <a:srgbClr val="FFFF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组合 2"/>
          <p:cNvGrpSpPr/>
          <p:nvPr/>
        </p:nvGrpSpPr>
        <p:grpSpPr>
          <a:xfrm>
            <a:off x="2918851" y="4212655"/>
            <a:ext cx="494025" cy="477559"/>
            <a:chOff x="2918841" y="4212641"/>
            <a:chExt cx="494025" cy="477559"/>
          </a:xfrm>
        </p:grpSpPr>
        <p:pic>
          <p:nvPicPr>
            <p:cNvPr id="45" name="Picture 1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 xmlns="">
                    <a14:imgLayer r:embed="rId8">
                      <a14:imgEffect>
                        <a14:backgroundRemoval t="0" b="100000" l="0" r="100000">
                          <a14:foregroundMark x1="29878" y1="17816" x2="76220" y2="22989"/>
                          <a14:foregroundMark x1="24390" y1="19540" x2="79878" y2="1781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 rot="255772">
              <a:off x="2941726" y="4237933"/>
              <a:ext cx="426203" cy="4522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0" name="矩形 49"/>
            <p:cNvSpPr/>
            <p:nvPr/>
          </p:nvSpPr>
          <p:spPr>
            <a:xfrm rot="10800000">
              <a:off x="2918841" y="4212641"/>
              <a:ext cx="494025" cy="438575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 w="28575">
              <a:solidFill>
                <a:srgbClr val="FF0000"/>
              </a:solidFill>
              <a:prstDash val="sysDot"/>
            </a:ln>
            <a:scene3d>
              <a:camera prst="orthographicFront">
                <a:rot lat="0" lon="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88" tIns="45643" rIns="91288" bIns="45643" rtlCol="0" anchor="ctr"/>
            <a:lstStyle/>
            <a:p>
              <a:pPr algn="ctr"/>
              <a:endParaRPr lang="en-US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5" name="组合 4"/>
          <p:cNvGrpSpPr/>
          <p:nvPr/>
        </p:nvGrpSpPr>
        <p:grpSpPr>
          <a:xfrm>
            <a:off x="3276114" y="3252744"/>
            <a:ext cx="494025" cy="438575"/>
            <a:chOff x="3276104" y="3252744"/>
            <a:chExt cx="494025" cy="438575"/>
          </a:xfrm>
        </p:grpSpPr>
        <p:pic>
          <p:nvPicPr>
            <p:cNvPr id="49" name="Picture 1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 xmlns="">
                    <a14:imgLayer r:embed="rId8">
                      <a14:imgEffect>
                        <a14:backgroundRemoval t="0" b="100000" l="0" r="100000">
                          <a14:foregroundMark x1="29878" y1="17816" x2="76220" y2="22989"/>
                          <a14:foregroundMark x1="24390" y1="19540" x2="79878" y2="1781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 rot="5711217">
              <a:off x="3312541" y="3245891"/>
              <a:ext cx="426203" cy="4522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1" name="矩形 50"/>
            <p:cNvSpPr/>
            <p:nvPr/>
          </p:nvSpPr>
          <p:spPr>
            <a:xfrm rot="10800000">
              <a:off x="3276104" y="3252744"/>
              <a:ext cx="494025" cy="438575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 w="28575">
              <a:solidFill>
                <a:srgbClr val="FF0000"/>
              </a:solidFill>
              <a:prstDash val="sysDot"/>
            </a:ln>
            <a:scene3d>
              <a:camera prst="orthographicFront">
                <a:rot lat="0" lon="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88" tIns="45643" rIns="91288" bIns="45643" rtlCol="0" anchor="ctr"/>
            <a:lstStyle/>
            <a:p>
              <a:pPr algn="ctr"/>
              <a:endParaRPr lang="en-US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2308498" y="2869320"/>
            <a:ext cx="568961" cy="621624"/>
            <a:chOff x="2308493" y="2869320"/>
            <a:chExt cx="568961" cy="621624"/>
          </a:xfrm>
        </p:grpSpPr>
        <p:pic>
          <p:nvPicPr>
            <p:cNvPr id="48" name="Picture 2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 xmlns="">
                    <a14:imgLayer r:embed="rId10">
                      <a14:imgEffect>
                        <a14:backgroundRemoval t="0" b="100000" l="0" r="100000"/>
                      </a14:imgEffect>
                      <a14:imgEffect>
                        <a14:colorTemperature colorTemp="112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18943" y="2896044"/>
              <a:ext cx="539418" cy="5898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4" name="矩形 53"/>
            <p:cNvSpPr/>
            <p:nvPr/>
          </p:nvSpPr>
          <p:spPr>
            <a:xfrm rot="10800000">
              <a:off x="2308493" y="2869320"/>
              <a:ext cx="568961" cy="621624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 w="28575">
              <a:solidFill>
                <a:srgbClr val="FF0000"/>
              </a:solidFill>
              <a:prstDash val="sysDot"/>
            </a:ln>
            <a:scene3d>
              <a:camera prst="orthographicFront">
                <a:rot lat="0" lon="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88" tIns="45643" rIns="91288" bIns="45643" rtlCol="0" anchor="ctr"/>
            <a:lstStyle/>
            <a:p>
              <a:pPr algn="ctr"/>
              <a:endParaRPr lang="en-US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6433410" y="4183737"/>
            <a:ext cx="494025" cy="452267"/>
            <a:chOff x="6433399" y="4183729"/>
            <a:chExt cx="494025" cy="452267"/>
          </a:xfrm>
        </p:grpSpPr>
        <p:pic>
          <p:nvPicPr>
            <p:cNvPr id="47" name="Picture 1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 xmlns="">
                    <a14:imgLayer r:embed="rId8">
                      <a14:imgEffect>
                        <a14:backgroundRemoval t="0" b="100000" l="0" r="100000">
                          <a14:foregroundMark x1="29878" y1="17816" x2="76220" y2="22989"/>
                          <a14:foregroundMark x1="24390" y1="19540" x2="79878" y2="1781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 rot="255772">
              <a:off x="6469419" y="4183729"/>
              <a:ext cx="426203" cy="4522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5" name="矩形 54"/>
            <p:cNvSpPr/>
            <p:nvPr/>
          </p:nvSpPr>
          <p:spPr>
            <a:xfrm rot="10800000">
              <a:off x="6433399" y="4190579"/>
              <a:ext cx="494025" cy="438575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 w="28575">
              <a:solidFill>
                <a:srgbClr val="FF0000"/>
              </a:solidFill>
              <a:prstDash val="sysDot"/>
            </a:ln>
            <a:scene3d>
              <a:camera prst="orthographicFront">
                <a:rot lat="0" lon="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88" tIns="45643" rIns="91288" bIns="45643" rtlCol="0" anchor="ctr"/>
            <a:lstStyle/>
            <a:p>
              <a:pPr algn="ctr"/>
              <a:endParaRPr lang="en-US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989806" y="304800"/>
            <a:ext cx="2993882" cy="1794171"/>
          </a:xfrm>
          <a:prstGeom prst="rect">
            <a:avLst/>
          </a:prstGeom>
          <a:noFill/>
          <a:ln w="9525">
            <a:solidFill>
              <a:srgbClr val="FFFF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416"/>
          <a:stretch/>
        </p:blipFill>
        <p:spPr bwMode="auto">
          <a:xfrm>
            <a:off x="5762625" y="382618"/>
            <a:ext cx="2884503" cy="1794171"/>
          </a:xfrm>
          <a:prstGeom prst="rect">
            <a:avLst/>
          </a:prstGeom>
          <a:noFill/>
          <a:ln w="9525">
            <a:solidFill>
              <a:srgbClr val="FFFF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9173"/>
          <a:stretch/>
        </p:blipFill>
        <p:spPr bwMode="auto">
          <a:xfrm>
            <a:off x="2659703" y="4778125"/>
            <a:ext cx="3283126" cy="1891251"/>
          </a:xfrm>
          <a:prstGeom prst="rect">
            <a:avLst/>
          </a:prstGeom>
          <a:noFill/>
          <a:ln w="9525">
            <a:solidFill>
              <a:srgbClr val="FFFF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" name="等腰三角形 31"/>
          <p:cNvSpPr/>
          <p:nvPr/>
        </p:nvSpPr>
        <p:spPr bwMode="auto">
          <a:xfrm rot="5400000">
            <a:off x="680392" y="3096419"/>
            <a:ext cx="2526383" cy="587236"/>
          </a:xfrm>
          <a:prstGeom prst="triangle">
            <a:avLst/>
          </a:prstGeom>
          <a:ln>
            <a:solidFill>
              <a:srgbClr val="FFFF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91246" tIns="45622" rIns="91246" bIns="4562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3" name="等腰三角形 32"/>
          <p:cNvSpPr/>
          <p:nvPr/>
        </p:nvSpPr>
        <p:spPr bwMode="auto">
          <a:xfrm rot="10800000">
            <a:off x="2877459" y="3121659"/>
            <a:ext cx="396389" cy="933071"/>
          </a:xfrm>
          <a:prstGeom prst="triangle">
            <a:avLst/>
          </a:prstGeom>
          <a:ln>
            <a:solidFill>
              <a:srgbClr val="FFFF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91246" tIns="45622" rIns="91246" bIns="4562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4" name="等腰三角形 33"/>
          <p:cNvSpPr/>
          <p:nvPr/>
        </p:nvSpPr>
        <p:spPr bwMode="auto">
          <a:xfrm rot="16200000">
            <a:off x="4318577" y="2700286"/>
            <a:ext cx="499559" cy="1515537"/>
          </a:xfrm>
          <a:prstGeom prst="triangle">
            <a:avLst/>
          </a:prstGeom>
          <a:ln>
            <a:solidFill>
              <a:srgbClr val="FFFF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91246" tIns="45622" rIns="91246" bIns="4562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5" name="等腰三角形 34"/>
          <p:cNvSpPr/>
          <p:nvPr/>
        </p:nvSpPr>
        <p:spPr bwMode="auto">
          <a:xfrm rot="11613466">
            <a:off x="6563769" y="3121659"/>
            <a:ext cx="696168" cy="925583"/>
          </a:xfrm>
          <a:prstGeom prst="triangle">
            <a:avLst/>
          </a:prstGeom>
          <a:ln>
            <a:solidFill>
              <a:srgbClr val="FFFF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91246" tIns="45622" rIns="91246" bIns="4562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6109393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34" grpId="0" animBg="1"/>
      <p:bldP spid="3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矩形 29"/>
          <p:cNvSpPr/>
          <p:nvPr/>
        </p:nvSpPr>
        <p:spPr>
          <a:xfrm>
            <a:off x="334566" y="332656"/>
            <a:ext cx="11161240" cy="61926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0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4050" y="1492307"/>
            <a:ext cx="5389034" cy="34228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827851" y="439647"/>
            <a:ext cx="2076661" cy="1388396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841407" y="2118351"/>
            <a:ext cx="2063104" cy="1388627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3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6915"/>
          <a:stretch/>
        </p:blipFill>
        <p:spPr bwMode="auto">
          <a:xfrm>
            <a:off x="8927565" y="3891698"/>
            <a:ext cx="1976947" cy="1455066"/>
          </a:xfrm>
          <a:prstGeom prst="ellipse">
            <a:avLst/>
          </a:prstGeom>
          <a:noFill/>
          <a:ln w="9525">
            <a:solidFill>
              <a:srgbClr val="0072C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32" name="直接连接符 31"/>
          <p:cNvCxnSpPr/>
          <p:nvPr/>
        </p:nvCxnSpPr>
        <p:spPr>
          <a:xfrm flipV="1">
            <a:off x="7535366" y="1492307"/>
            <a:ext cx="1080120" cy="138736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连接符 40"/>
          <p:cNvCxnSpPr/>
          <p:nvPr/>
        </p:nvCxnSpPr>
        <p:spPr>
          <a:xfrm>
            <a:off x="7627643" y="3269217"/>
            <a:ext cx="913345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43"/>
          <p:cNvCxnSpPr/>
          <p:nvPr/>
        </p:nvCxnSpPr>
        <p:spPr>
          <a:xfrm>
            <a:off x="7553147" y="3573016"/>
            <a:ext cx="1062339" cy="167576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矩形 45"/>
          <p:cNvSpPr/>
          <p:nvPr/>
        </p:nvSpPr>
        <p:spPr>
          <a:xfrm>
            <a:off x="9067006" y="1752600"/>
            <a:ext cx="3230751" cy="338372"/>
          </a:xfrm>
          <a:prstGeom prst="rect">
            <a:avLst/>
          </a:prstGeom>
          <a:noFill/>
          <a:ln>
            <a:noFill/>
          </a:ln>
        </p:spPr>
        <p:txBody>
          <a:bodyPr lIns="91262" tIns="45630" rIns="91262" bIns="45630">
            <a:spAutoFit/>
          </a:bodyPr>
          <a:lstStyle/>
          <a:p>
            <a:r>
              <a:rPr lang="en-US" altLang="zh-CN" sz="16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Đầu</a:t>
            </a:r>
            <a:r>
              <a:rPr lang="en-US" altLang="zh-CN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6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Đọc</a:t>
            </a:r>
            <a:r>
              <a:rPr lang="en-US" altLang="zh-CN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6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hẻ</a:t>
            </a:r>
            <a:endParaRPr lang="en-US" altLang="zh-CN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5555146" y="1492307"/>
            <a:ext cx="1908212" cy="341015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0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35" name="Picture 2" descr="C:\Users\26457\Desktop\公交图片素材\5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75126" y="2708920"/>
            <a:ext cx="2088232" cy="1078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矩形 47"/>
          <p:cNvSpPr/>
          <p:nvPr/>
        </p:nvSpPr>
        <p:spPr>
          <a:xfrm>
            <a:off x="8457406" y="3505200"/>
            <a:ext cx="2895600" cy="584594"/>
          </a:xfrm>
          <a:prstGeom prst="rect">
            <a:avLst/>
          </a:prstGeom>
          <a:noFill/>
          <a:ln>
            <a:noFill/>
          </a:ln>
        </p:spPr>
        <p:txBody>
          <a:bodyPr wrap="square" lIns="91262" tIns="45630" rIns="91262" bIns="45630">
            <a:spAutoFit/>
          </a:bodyPr>
          <a:lstStyle/>
          <a:p>
            <a:r>
              <a:rPr lang="en-US" altLang="zh-CN" sz="16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altLang="zh-CN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6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altLang="zh-CN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6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phát</a:t>
            </a:r>
            <a:r>
              <a:rPr lang="en-US" altLang="zh-CN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6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hiện</a:t>
            </a:r>
            <a:r>
              <a:rPr lang="en-US" altLang="zh-CN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6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khí</a:t>
            </a:r>
            <a:r>
              <a:rPr lang="en-US" altLang="zh-CN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gas</a:t>
            </a:r>
          </a:p>
          <a:p>
            <a:endParaRPr lang="en-US" altLang="zh-CN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9096166" y="5380269"/>
            <a:ext cx="2937046" cy="338372"/>
          </a:xfrm>
          <a:prstGeom prst="rect">
            <a:avLst/>
          </a:prstGeom>
          <a:noFill/>
          <a:ln>
            <a:noFill/>
          </a:ln>
        </p:spPr>
        <p:txBody>
          <a:bodyPr lIns="91262" tIns="45630" rIns="91262" bIns="45630">
            <a:spAutoFit/>
          </a:bodyPr>
          <a:lstStyle/>
          <a:p>
            <a:r>
              <a:rPr lang="en-US" altLang="zh-CN" sz="16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Máy</a:t>
            </a:r>
            <a:r>
              <a:rPr lang="en-US" altLang="zh-CN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6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bán</a:t>
            </a:r>
            <a:r>
              <a:rPr lang="en-US" altLang="zh-CN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6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vé</a:t>
            </a:r>
            <a:endParaRPr lang="en-US" altLang="zh-CN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7627643" y="1635682"/>
            <a:ext cx="2937046" cy="353761"/>
          </a:xfrm>
          <a:prstGeom prst="rect">
            <a:avLst/>
          </a:prstGeom>
          <a:noFill/>
          <a:ln>
            <a:noFill/>
          </a:ln>
        </p:spPr>
        <p:txBody>
          <a:bodyPr lIns="91262" tIns="45630" rIns="91262" bIns="45630">
            <a:spAutoFit/>
          </a:bodyPr>
          <a:lstStyle/>
          <a:p>
            <a:r>
              <a:rPr lang="en-US" altLang="zh-CN" sz="17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RS232</a:t>
            </a:r>
            <a:endParaRPr lang="en-US" altLang="zh-CN" sz="17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7603626" y="2812665"/>
            <a:ext cx="2937046" cy="615371"/>
          </a:xfrm>
          <a:prstGeom prst="rect">
            <a:avLst/>
          </a:prstGeom>
          <a:noFill/>
          <a:ln>
            <a:noFill/>
          </a:ln>
        </p:spPr>
        <p:txBody>
          <a:bodyPr lIns="91262" tIns="45630" rIns="91262" bIns="45630">
            <a:spAutoFit/>
          </a:bodyPr>
          <a:lstStyle/>
          <a:p>
            <a:r>
              <a:rPr lang="en-US" altLang="zh-CN" sz="17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CAN bus</a:t>
            </a:r>
          </a:p>
          <a:p>
            <a:endParaRPr lang="en-US" altLang="zh-CN" sz="17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7751004" y="4193125"/>
            <a:ext cx="2937046" cy="615371"/>
          </a:xfrm>
          <a:prstGeom prst="rect">
            <a:avLst/>
          </a:prstGeom>
          <a:noFill/>
          <a:ln>
            <a:noFill/>
          </a:ln>
        </p:spPr>
        <p:txBody>
          <a:bodyPr lIns="91262" tIns="45630" rIns="91262" bIns="45630">
            <a:spAutoFit/>
          </a:bodyPr>
          <a:lstStyle/>
          <a:p>
            <a:r>
              <a:rPr lang="en-US" altLang="zh-CN" sz="17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RS485</a:t>
            </a:r>
          </a:p>
          <a:p>
            <a:endParaRPr lang="en-US" altLang="zh-CN" sz="17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706675" y="5132950"/>
            <a:ext cx="2220890" cy="1392394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2" name="矩形 21"/>
          <p:cNvSpPr/>
          <p:nvPr/>
        </p:nvSpPr>
        <p:spPr>
          <a:xfrm>
            <a:off x="8838406" y="5867400"/>
            <a:ext cx="2937046" cy="338372"/>
          </a:xfrm>
          <a:prstGeom prst="rect">
            <a:avLst/>
          </a:prstGeom>
          <a:noFill/>
          <a:ln>
            <a:noFill/>
          </a:ln>
        </p:spPr>
        <p:txBody>
          <a:bodyPr lIns="91262" tIns="45630" rIns="91262" bIns="45630">
            <a:spAutoFit/>
          </a:bodyPr>
          <a:lstStyle/>
          <a:p>
            <a:r>
              <a:rPr lang="en-US" altLang="zh-CN" sz="16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altLang="zh-CN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6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altLang="zh-CN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6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đo</a:t>
            </a:r>
            <a:r>
              <a:rPr lang="en-US" altLang="zh-CN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LED</a:t>
            </a:r>
            <a:endParaRPr lang="en-US" altLang="zh-CN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1671864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圆角矩形 3"/>
          <p:cNvSpPr/>
          <p:nvPr/>
        </p:nvSpPr>
        <p:spPr>
          <a:xfrm>
            <a:off x="380910" y="1714711"/>
            <a:ext cx="4952390" cy="409524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533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7714257" y="2476617"/>
            <a:ext cx="3714292" cy="333333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533"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标题 1"/>
          <p:cNvSpPr txBox="1">
            <a:spLocks/>
          </p:cNvSpPr>
          <p:nvPr/>
        </p:nvSpPr>
        <p:spPr>
          <a:xfrm>
            <a:off x="-43" y="198858"/>
            <a:ext cx="12190456" cy="56348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en-US" altLang="zh-CN" sz="3200" b="1" dirty="0" smtClean="0">
                <a:solidFill>
                  <a:srgbClr val="000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GIÁM SÁT PHƯƠNG TIỆN</a:t>
            </a:r>
            <a:r>
              <a:rPr lang="zh-CN" altLang="en-US" sz="3200" b="1" dirty="0" smtClean="0">
                <a:solidFill>
                  <a:srgbClr val="000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｜</a:t>
            </a:r>
            <a:r>
              <a:rPr lang="en-US" altLang="zh-CN" sz="3200" b="1" dirty="0" smtClean="0">
                <a:solidFill>
                  <a:srgbClr val="FF0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GIẢI PHÁP CHO XE CẢNH SÁT</a:t>
            </a:r>
            <a:endParaRPr lang="zh-CN" altLang="en-US" sz="3200" b="1" dirty="0">
              <a:solidFill>
                <a:srgbClr val="FF0000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  <a:p>
            <a:pPr algn="l">
              <a:defRPr/>
            </a:pPr>
            <a:endParaRPr lang="zh-CN" altLang="en-US" sz="3200" b="1" dirty="0">
              <a:solidFill>
                <a:srgbClr val="000000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835223" y="4000429"/>
            <a:ext cx="443350" cy="285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2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692367" y="3905191"/>
            <a:ext cx="857144" cy="295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787605" y="4476622"/>
            <a:ext cx="761906" cy="32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714253" y="3333762"/>
            <a:ext cx="742858" cy="1238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30" descr="图形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85682" y="3809953"/>
            <a:ext cx="1373648" cy="571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C:\Documents and Settings\Administrator\桌面\内部发布\油罐车视频监控联网visio原图\A4 油罐车视频监控联网解决方案基础版V1.0\A4 油罐车视频监控联网解决方案基础版V1.0.jpg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95210" y="3809954"/>
            <a:ext cx="409671" cy="653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09"/>
          <p:cNvSpPr txBox="1">
            <a:spLocks noChangeArrowheads="1"/>
          </p:cNvSpPr>
          <p:nvPr/>
        </p:nvSpPr>
        <p:spPr bwMode="auto">
          <a:xfrm>
            <a:off x="5523776" y="4667098"/>
            <a:ext cx="1390043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/>
            <a:r>
              <a:rPr lang="en-US" altLang="zh-CN" sz="1200" dirty="0">
                <a:latin typeface="Tahoma" pitchFamily="34" charset="0"/>
                <a:ea typeface="Tahoma" pitchFamily="34" charset="0"/>
                <a:cs typeface="Tahoma" pitchFamily="34" charset="0"/>
              </a:rPr>
              <a:t>Base Station </a:t>
            </a:r>
          </a:p>
        </p:txBody>
      </p:sp>
      <p:sp>
        <p:nvSpPr>
          <p:cNvPr id="13" name="TextBox 109"/>
          <p:cNvSpPr txBox="1">
            <a:spLocks noChangeArrowheads="1"/>
          </p:cNvSpPr>
          <p:nvPr/>
        </p:nvSpPr>
        <p:spPr bwMode="auto">
          <a:xfrm>
            <a:off x="5809491" y="3619477"/>
            <a:ext cx="1390043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/>
            <a:r>
              <a:rPr lang="en-US" altLang="zh-CN" sz="1200" dirty="0">
                <a:latin typeface="Tahoma" pitchFamily="34" charset="0"/>
                <a:ea typeface="Tahoma" pitchFamily="34" charset="0"/>
                <a:cs typeface="Tahoma" pitchFamily="34" charset="0"/>
              </a:rPr>
              <a:t>3G/4G</a:t>
            </a:r>
          </a:p>
        </p:txBody>
      </p:sp>
      <p:sp>
        <p:nvSpPr>
          <p:cNvPr id="14" name="矩形 13"/>
          <p:cNvSpPr/>
          <p:nvPr/>
        </p:nvSpPr>
        <p:spPr>
          <a:xfrm>
            <a:off x="1675606" y="2209800"/>
            <a:ext cx="7473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Đầu</a:t>
            </a:r>
            <a:r>
              <a:rPr lang="en-US" altLang="zh-CN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Ghi</a:t>
            </a:r>
            <a:endParaRPr lang="en-US" altLang="zh-CN" sz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10621828" y="5143289"/>
            <a:ext cx="5757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en-US" altLang="zh-CN" sz="1200" dirty="0">
                <a:latin typeface="Tahoma" pitchFamily="34" charset="0"/>
                <a:ea typeface="Tahoma" pitchFamily="34" charset="0"/>
                <a:cs typeface="Tahoma" pitchFamily="34" charset="0"/>
              </a:rPr>
              <a:t>Client</a:t>
            </a:r>
          </a:p>
        </p:txBody>
      </p:sp>
      <p:sp>
        <p:nvSpPr>
          <p:cNvPr id="16" name="矩形 15"/>
          <p:cNvSpPr/>
          <p:nvPr/>
        </p:nvSpPr>
        <p:spPr>
          <a:xfrm>
            <a:off x="6400006" y="3810000"/>
            <a:ext cx="12696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Hệ</a:t>
            </a:r>
            <a:r>
              <a:rPr lang="en-US" altLang="zh-CN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hống</a:t>
            </a:r>
            <a:r>
              <a:rPr lang="en-US" altLang="zh-CN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Của</a:t>
            </a:r>
            <a:r>
              <a:rPr lang="en-US" altLang="zh-CN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Cảnh</a:t>
            </a:r>
            <a:r>
              <a:rPr lang="en-US" altLang="zh-CN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Sát</a:t>
            </a:r>
            <a:endParaRPr lang="en-US" altLang="zh-CN" sz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619015" y="1048043"/>
            <a:ext cx="1264281" cy="857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8" name="Picture 9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787605" y="5048050"/>
            <a:ext cx="666668" cy="457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15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619008" y="3238524"/>
            <a:ext cx="666668" cy="38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1" name="直接连接符 20"/>
          <p:cNvCxnSpPr>
            <a:stCxn id="47" idx="2"/>
            <a:endCxn id="69" idx="3"/>
          </p:cNvCxnSpPr>
          <p:nvPr/>
        </p:nvCxnSpPr>
        <p:spPr>
          <a:xfrm rot="5400000">
            <a:off x="1643400" y="2151760"/>
            <a:ext cx="895121" cy="159151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>
            <a:stCxn id="19" idx="0"/>
            <a:endCxn id="47" idx="2"/>
          </p:cNvCxnSpPr>
          <p:nvPr/>
        </p:nvCxnSpPr>
        <p:spPr>
          <a:xfrm rot="5400000" flipH="1" flipV="1">
            <a:off x="2050245" y="2402053"/>
            <a:ext cx="738569" cy="934374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5142824" y="1428997"/>
            <a:ext cx="857144" cy="977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4666632" y="3714715"/>
            <a:ext cx="1142859" cy="977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25" name="直接连接符 24"/>
          <p:cNvCxnSpPr>
            <a:stCxn id="10" idx="3"/>
            <a:endCxn id="11" idx="1"/>
          </p:cNvCxnSpPr>
          <p:nvPr/>
        </p:nvCxnSpPr>
        <p:spPr>
          <a:xfrm>
            <a:off x="7659330" y="4095669"/>
            <a:ext cx="435879" cy="41193"/>
          </a:xfrm>
          <a:prstGeom prst="line">
            <a:avLst/>
          </a:prstGeom>
          <a:ln w="22225"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/>
          <p:cNvCxnSpPr>
            <a:stCxn id="6" idx="3"/>
            <a:endCxn id="7" idx="1"/>
          </p:cNvCxnSpPr>
          <p:nvPr/>
        </p:nvCxnSpPr>
        <p:spPr>
          <a:xfrm flipV="1">
            <a:off x="9278573" y="4052693"/>
            <a:ext cx="413794" cy="90595"/>
          </a:xfrm>
          <a:prstGeom prst="line">
            <a:avLst/>
          </a:prstGeom>
          <a:ln w="22225"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/>
          <p:cNvCxnSpPr>
            <a:stCxn id="6" idx="3"/>
            <a:endCxn id="8" idx="1"/>
          </p:cNvCxnSpPr>
          <p:nvPr/>
        </p:nvCxnSpPr>
        <p:spPr>
          <a:xfrm>
            <a:off x="9278573" y="4143288"/>
            <a:ext cx="509032" cy="496366"/>
          </a:xfrm>
          <a:prstGeom prst="line">
            <a:avLst/>
          </a:prstGeom>
          <a:ln w="22225"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/>
          <p:cNvCxnSpPr>
            <a:stCxn id="18" idx="1"/>
            <a:endCxn id="6" idx="3"/>
          </p:cNvCxnSpPr>
          <p:nvPr/>
        </p:nvCxnSpPr>
        <p:spPr>
          <a:xfrm rot="10800000">
            <a:off x="9278573" y="4143287"/>
            <a:ext cx="509032" cy="1133668"/>
          </a:xfrm>
          <a:prstGeom prst="line">
            <a:avLst/>
          </a:prstGeom>
          <a:ln w="22225"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/>
          <p:cNvCxnSpPr>
            <a:stCxn id="6" idx="1"/>
            <a:endCxn id="11" idx="3"/>
          </p:cNvCxnSpPr>
          <p:nvPr/>
        </p:nvCxnSpPr>
        <p:spPr>
          <a:xfrm rot="10800000">
            <a:off x="8504882" y="4136861"/>
            <a:ext cx="330342" cy="6426"/>
          </a:xfrm>
          <a:prstGeom prst="line">
            <a:avLst/>
          </a:prstGeom>
          <a:ln w="22225"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连接符 30"/>
          <p:cNvCxnSpPr>
            <a:stCxn id="47" idx="2"/>
            <a:endCxn id="66" idx="1"/>
          </p:cNvCxnSpPr>
          <p:nvPr/>
        </p:nvCxnSpPr>
        <p:spPr>
          <a:xfrm rot="16200000" flipH="1">
            <a:off x="3359771" y="2026899"/>
            <a:ext cx="262378" cy="1208487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5"/>
          <p:cNvSpPr txBox="1">
            <a:spLocks noChangeArrowheads="1"/>
          </p:cNvSpPr>
          <p:nvPr/>
        </p:nvSpPr>
        <p:spPr bwMode="auto">
          <a:xfrm>
            <a:off x="8609806" y="3581400"/>
            <a:ext cx="890384" cy="492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/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Bộ</a:t>
            </a:r>
            <a:r>
              <a:rPr lang="en-US" altLang="zh-CN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Chia</a:t>
            </a:r>
            <a:r>
              <a:rPr lang="en-US" altLang="zh-CN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Mạng</a:t>
            </a:r>
            <a:endParaRPr lang="en-US" altLang="zh-CN" sz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10659307" y="3809954"/>
            <a:ext cx="6317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en-US" altLang="zh-CN" sz="1200" dirty="0">
                <a:latin typeface="Tahoma" pitchFamily="34" charset="0"/>
                <a:ea typeface="Tahoma" pitchFamily="34" charset="0"/>
                <a:cs typeface="Tahoma" pitchFamily="34" charset="0"/>
              </a:rPr>
              <a:t>DSS-M</a:t>
            </a:r>
          </a:p>
        </p:txBody>
      </p:sp>
      <p:sp>
        <p:nvSpPr>
          <p:cNvPr id="34" name="矩形 33"/>
          <p:cNvSpPr/>
          <p:nvPr/>
        </p:nvSpPr>
        <p:spPr>
          <a:xfrm>
            <a:off x="10667861" y="4476622"/>
            <a:ext cx="7216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en-US" altLang="zh-CN" sz="1200" dirty="0">
                <a:latin typeface="Tahoma" pitchFamily="34" charset="0"/>
                <a:ea typeface="Tahoma" pitchFamily="34" charset="0"/>
                <a:cs typeface="Tahoma" pitchFamily="34" charset="0"/>
              </a:rPr>
              <a:t>Storage</a:t>
            </a:r>
          </a:p>
        </p:txBody>
      </p:sp>
      <p:sp>
        <p:nvSpPr>
          <p:cNvPr id="35" name="TextBox 109"/>
          <p:cNvSpPr txBox="1">
            <a:spLocks noChangeArrowheads="1"/>
          </p:cNvSpPr>
          <p:nvPr/>
        </p:nvSpPr>
        <p:spPr bwMode="auto">
          <a:xfrm>
            <a:off x="1333293" y="2667095"/>
            <a:ext cx="1390043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/>
            <a:r>
              <a:rPr lang="en-US" altLang="zh-CN" sz="1200" dirty="0">
                <a:latin typeface="Tahoma" pitchFamily="34" charset="0"/>
                <a:ea typeface="Tahoma" pitchFamily="34" charset="0"/>
                <a:cs typeface="Tahoma" pitchFamily="34" charset="0"/>
              </a:rPr>
              <a:t>Camera</a:t>
            </a:r>
          </a:p>
        </p:txBody>
      </p:sp>
      <p:sp>
        <p:nvSpPr>
          <p:cNvPr id="36" name="TextBox 109"/>
          <p:cNvSpPr txBox="1">
            <a:spLocks noChangeArrowheads="1"/>
          </p:cNvSpPr>
          <p:nvPr/>
        </p:nvSpPr>
        <p:spPr bwMode="auto">
          <a:xfrm>
            <a:off x="3904726" y="3048048"/>
            <a:ext cx="1390043" cy="492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/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Màn</a:t>
            </a:r>
            <a:r>
              <a:rPr lang="en-US" altLang="zh-CN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Hình</a:t>
            </a:r>
            <a:r>
              <a:rPr lang="en-US" altLang="zh-CN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Hiển</a:t>
            </a:r>
            <a:r>
              <a:rPr lang="en-US" altLang="zh-CN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hị</a:t>
            </a:r>
            <a:endParaRPr lang="en-US" altLang="zh-CN" sz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7" name="TextBox 109"/>
          <p:cNvSpPr txBox="1">
            <a:spLocks noChangeArrowheads="1"/>
          </p:cNvSpPr>
          <p:nvPr/>
        </p:nvSpPr>
        <p:spPr bwMode="auto">
          <a:xfrm>
            <a:off x="5619015" y="2000427"/>
            <a:ext cx="1390043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/>
            <a:r>
              <a:rPr lang="en-US" altLang="zh-CN" sz="1200" dirty="0">
                <a:latin typeface="Tahoma" pitchFamily="34" charset="0"/>
                <a:ea typeface="Tahoma" pitchFamily="34" charset="0"/>
                <a:cs typeface="Tahoma" pitchFamily="34" charset="0"/>
              </a:rPr>
              <a:t>GPS</a:t>
            </a:r>
          </a:p>
        </p:txBody>
      </p:sp>
      <p:sp>
        <p:nvSpPr>
          <p:cNvPr id="38" name="TextBox 38"/>
          <p:cNvSpPr txBox="1">
            <a:spLocks noChangeArrowheads="1"/>
          </p:cNvSpPr>
          <p:nvPr/>
        </p:nvSpPr>
        <p:spPr bwMode="auto">
          <a:xfrm>
            <a:off x="7904733" y="4476622"/>
            <a:ext cx="1105877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ường</a:t>
            </a:r>
            <a:r>
              <a:rPr lang="en-US" altLang="zh-CN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Lửa</a:t>
            </a:r>
            <a:endParaRPr lang="en-US" altLang="zh-CN" sz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9" name="TextBox 143384"/>
          <p:cNvSpPr txBox="1">
            <a:spLocks noChangeArrowheads="1"/>
          </p:cNvSpPr>
          <p:nvPr/>
        </p:nvSpPr>
        <p:spPr bwMode="auto">
          <a:xfrm>
            <a:off x="7809495" y="2952809"/>
            <a:ext cx="2095242" cy="328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6" tIns="60959" rIns="121916" bIns="6095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en-US" altLang="zh-CN" sz="1333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rung</a:t>
            </a:r>
            <a:r>
              <a:rPr lang="en-US" altLang="zh-CN" sz="1333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333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âm</a:t>
            </a:r>
            <a:r>
              <a:rPr lang="en-US" altLang="zh-CN" sz="1333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333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Giám</a:t>
            </a:r>
            <a:r>
              <a:rPr lang="en-US" altLang="zh-CN" sz="1333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333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Sát</a:t>
            </a:r>
            <a:endParaRPr lang="en-US" altLang="zh-CN" sz="1333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0" name="TextBox 143384"/>
          <p:cNvSpPr txBox="1">
            <a:spLocks noChangeArrowheads="1"/>
          </p:cNvSpPr>
          <p:nvPr/>
        </p:nvSpPr>
        <p:spPr bwMode="auto">
          <a:xfrm>
            <a:off x="666625" y="1905188"/>
            <a:ext cx="1047621" cy="328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6" tIns="60959" rIns="121916" bIns="6095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en-US" altLang="zh-CN" sz="1333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rên</a:t>
            </a:r>
            <a:r>
              <a:rPr lang="en-US" altLang="zh-CN" sz="1333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333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Xe</a:t>
            </a:r>
            <a:endParaRPr lang="en-US" altLang="zh-CN" sz="1333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41" name="直接连接符 40"/>
          <p:cNvCxnSpPr>
            <a:stCxn id="7" idx="0"/>
          </p:cNvCxnSpPr>
          <p:nvPr/>
        </p:nvCxnSpPr>
        <p:spPr>
          <a:xfrm rot="5400000" flipH="1" flipV="1">
            <a:off x="10120363" y="3739865"/>
            <a:ext cx="165905" cy="164751"/>
          </a:xfrm>
          <a:prstGeom prst="line">
            <a:avLst/>
          </a:prstGeom>
          <a:ln w="22225"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7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9809499" y="2952809"/>
            <a:ext cx="1036613" cy="83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" name="Picture 6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619012" y="3199609"/>
            <a:ext cx="263844" cy="419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" name="TextBox 109"/>
          <p:cNvSpPr txBox="1">
            <a:spLocks noChangeArrowheads="1"/>
          </p:cNvSpPr>
          <p:nvPr/>
        </p:nvSpPr>
        <p:spPr bwMode="auto">
          <a:xfrm>
            <a:off x="3047582" y="3524239"/>
            <a:ext cx="1390043" cy="492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/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Nút</a:t>
            </a:r>
            <a:r>
              <a:rPr lang="en-US" altLang="zh-CN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Báo</a:t>
            </a:r>
            <a:r>
              <a:rPr lang="en-US" altLang="zh-CN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Khẩn</a:t>
            </a:r>
            <a:r>
              <a:rPr lang="en-US" altLang="zh-CN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Cấp</a:t>
            </a:r>
            <a:endParaRPr lang="en-US" altLang="zh-CN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45" name="直接连接符 44"/>
          <p:cNvCxnSpPr>
            <a:stCxn id="47" idx="2"/>
            <a:endCxn id="43" idx="1"/>
          </p:cNvCxnSpPr>
          <p:nvPr/>
        </p:nvCxnSpPr>
        <p:spPr>
          <a:xfrm rot="16200000" flipH="1">
            <a:off x="2798067" y="2588604"/>
            <a:ext cx="909595" cy="732295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Picture 3"/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380914" y="2095665"/>
            <a:ext cx="1011604" cy="40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66625" y="3905192"/>
            <a:ext cx="2857148" cy="1631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904726" y="4000430"/>
            <a:ext cx="571430" cy="11428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1" name="直接连接符 50"/>
          <p:cNvCxnSpPr>
            <a:stCxn id="47" idx="2"/>
            <a:endCxn id="71" idx="0"/>
          </p:cNvCxnSpPr>
          <p:nvPr/>
        </p:nvCxnSpPr>
        <p:spPr>
          <a:xfrm rot="5400000">
            <a:off x="2502628" y="2759196"/>
            <a:ext cx="643331" cy="124849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109"/>
          <p:cNvSpPr txBox="1">
            <a:spLocks noChangeArrowheads="1"/>
          </p:cNvSpPr>
          <p:nvPr/>
        </p:nvSpPr>
        <p:spPr bwMode="auto">
          <a:xfrm>
            <a:off x="190434" y="2571856"/>
            <a:ext cx="1390043" cy="492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/>
            <a:r>
              <a:rPr lang="en-US" altLang="zh-CN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PTZ Camera </a:t>
            </a:r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rên</a:t>
            </a:r>
            <a:r>
              <a:rPr lang="en-US" altLang="zh-CN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xe</a:t>
            </a:r>
            <a:endParaRPr lang="en-US" altLang="zh-CN" sz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2125913" y="3619477"/>
            <a:ext cx="11498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Thiết</a:t>
            </a:r>
            <a:r>
              <a:rPr lang="en-US" altLang="zh-CN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Bị</a:t>
            </a:r>
            <a:r>
              <a:rPr lang="en-US" altLang="zh-CN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Điều</a:t>
            </a:r>
            <a:r>
              <a:rPr lang="en-US" altLang="zh-CN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Khiển</a:t>
            </a:r>
            <a:endParaRPr lang="zh-CN" altLang="en-US" sz="1200" dirty="0">
              <a:latin typeface="Tahoma" pitchFamily="34" charset="0"/>
              <a:ea typeface="微软雅黑" pitchFamily="34" charset="-122"/>
              <a:cs typeface="Tahoma" pitchFamily="34" charset="0"/>
            </a:endParaRPr>
          </a:p>
        </p:txBody>
      </p:sp>
      <p:pic>
        <p:nvPicPr>
          <p:cNvPr id="66" name="图片 65" descr="产品图片.jpg"/>
          <p:cNvPicPr>
            <a:picLocks noChangeAspect="1"/>
          </p:cNvPicPr>
          <p:nvPr/>
        </p:nvPicPr>
        <p:blipFill>
          <a:blip r:embed="rId18" cstate="print"/>
          <a:srcRect l="5860" t="7501" r="6240" b="9990"/>
          <a:stretch>
            <a:fillRect/>
          </a:stretch>
        </p:blipFill>
        <p:spPr>
          <a:xfrm>
            <a:off x="4095203" y="2476617"/>
            <a:ext cx="779221" cy="571430"/>
          </a:xfrm>
          <a:prstGeom prst="rect">
            <a:avLst/>
          </a:prstGeom>
          <a:effectLst>
            <a:outerShdw blurRad="50800" dist="50800" dir="5400000" algn="ctr" rotWithShape="0">
              <a:schemeClr val="bg1">
                <a:alpha val="0"/>
              </a:schemeClr>
            </a:outerShdw>
          </a:effectLst>
        </p:spPr>
      </p:pic>
      <p:pic>
        <p:nvPicPr>
          <p:cNvPr id="69" name="Picture 2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285672" y="3048048"/>
            <a:ext cx="1009534" cy="69405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71" name="Picture 1" descr="RM6U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2476152" y="3143286"/>
            <a:ext cx="571430" cy="415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08327482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473760" y="1340768"/>
            <a:ext cx="6102129" cy="4941168"/>
          </a:xfrm>
          <a:prstGeom prst="rect">
            <a:avLst/>
          </a:prstGeom>
        </p:spPr>
      </p:pic>
      <p:pic>
        <p:nvPicPr>
          <p:cNvPr id="10243" name="图片 6" descr="12222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9292" t="6013" r="1525" b="52171"/>
          <a:stretch/>
        </p:blipFill>
        <p:spPr bwMode="auto">
          <a:xfrm>
            <a:off x="406574" y="3645024"/>
            <a:ext cx="4598284" cy="2880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图片 6" descr="12222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4968" r="51062" b="52170"/>
          <a:stretch/>
        </p:blipFill>
        <p:spPr bwMode="auto">
          <a:xfrm>
            <a:off x="429480" y="548680"/>
            <a:ext cx="4575378" cy="2952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10532738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直接连接符 12"/>
          <p:cNvCxnSpPr/>
          <p:nvPr/>
        </p:nvCxnSpPr>
        <p:spPr>
          <a:xfrm>
            <a:off x="-144674" y="840521"/>
            <a:ext cx="0" cy="3987251"/>
          </a:xfrm>
          <a:prstGeom prst="line">
            <a:avLst/>
          </a:prstGeom>
          <a:ln w="19050">
            <a:solidFill>
              <a:srgbClr val="ACAC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8195" t="11566" r="37639" b="8165"/>
          <a:stretch/>
        </p:blipFill>
        <p:spPr>
          <a:xfrm>
            <a:off x="2030065" y="1290394"/>
            <a:ext cx="2629936" cy="4457253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2493301" y="1989028"/>
            <a:ext cx="1489946" cy="3036745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/>
            <a:endParaRPr lang="zh-CN" altLang="en-US" sz="2400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9" name="直接连接符 8"/>
          <p:cNvCxnSpPr/>
          <p:nvPr/>
        </p:nvCxnSpPr>
        <p:spPr>
          <a:xfrm flipV="1">
            <a:off x="3995000" y="2373021"/>
            <a:ext cx="3348184" cy="5817"/>
          </a:xfrm>
          <a:prstGeom prst="lin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TextBox 14"/>
          <p:cNvSpPr txBox="1"/>
          <p:nvPr/>
        </p:nvSpPr>
        <p:spPr>
          <a:xfrm>
            <a:off x="4254704" y="1899996"/>
            <a:ext cx="3280474" cy="218482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defTabSz="1219078"/>
            <a:r>
              <a:rPr lang="en-US" altLang="zh-CN" sz="2133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àn</a:t>
            </a:r>
            <a:r>
              <a:rPr lang="en-US" altLang="zh-CN" sz="2133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33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ình</a:t>
            </a:r>
            <a:r>
              <a:rPr lang="en-US" altLang="zh-CN" sz="2133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4 inch</a:t>
            </a:r>
            <a:endParaRPr lang="en-US" altLang="zh-CN" sz="2133" b="1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defTabSz="1219078"/>
            <a:endParaRPr lang="en-US" altLang="zh-CN" sz="1067" b="1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defTabSz="1219078"/>
            <a:r>
              <a:rPr lang="en-US" altLang="zh-CN" sz="1866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ộ</a:t>
            </a:r>
            <a:r>
              <a:rPr lang="en-US" altLang="zh-CN" sz="1866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66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ân</a:t>
            </a:r>
            <a:r>
              <a:rPr lang="en-US" altLang="zh-CN" sz="1866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66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iải</a:t>
            </a:r>
            <a:r>
              <a:rPr lang="zh-CN" altLang="en-US" sz="1866" b="1" dirty="0" smtClean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：</a:t>
            </a:r>
            <a:r>
              <a:rPr lang="en-US" altLang="zh-CN" sz="1866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854x480</a:t>
            </a:r>
          </a:p>
          <a:p>
            <a:pPr defTabSz="1219078"/>
            <a:r>
              <a:rPr lang="en-US" altLang="zh-CN" sz="1866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ộ</a:t>
            </a:r>
            <a:r>
              <a:rPr lang="en-US" altLang="zh-CN" sz="1866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66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áng</a:t>
            </a:r>
            <a:r>
              <a:rPr lang="zh-CN" altLang="en-US" sz="1866" b="1" dirty="0" smtClean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：</a:t>
            </a:r>
            <a:r>
              <a:rPr lang="en-US" altLang="zh-CN" sz="1866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90</a:t>
            </a:r>
            <a:r>
              <a:rPr lang="zh-CN" altLang="zh-CN" sz="1866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 </a:t>
            </a:r>
            <a:r>
              <a:rPr lang="zh-CN" altLang="zh-CN" sz="1866" b="1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cd/m2</a:t>
            </a:r>
            <a:endParaRPr lang="en-US" altLang="zh-CN" sz="1866" b="1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defTabSz="1219078"/>
            <a:r>
              <a:rPr lang="en-US" altLang="zh-CN" sz="1866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hiệt</a:t>
            </a:r>
            <a:r>
              <a:rPr lang="en-US" altLang="zh-CN" sz="1866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1866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ộ</a:t>
            </a:r>
            <a:r>
              <a:rPr lang="zh-CN" altLang="en-US" sz="1866" b="1" dirty="0" smtClean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：</a:t>
            </a:r>
            <a:r>
              <a:rPr lang="en-US" altLang="zh-CN" sz="1866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-10°~70°</a:t>
            </a:r>
          </a:p>
          <a:p>
            <a:pPr defTabSz="1219078"/>
            <a:endParaRPr lang="en-US" altLang="zh-CN" sz="2400" b="1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defTabSz="1219078"/>
            <a:endParaRPr lang="zh-CN" altLang="en-US" sz="2400" b="1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2959390" y="5091471"/>
            <a:ext cx="585793" cy="212912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/>
            <a:endParaRPr lang="zh-CN" altLang="en-US" sz="2400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23" name="直接连接符 22"/>
          <p:cNvCxnSpPr/>
          <p:nvPr/>
        </p:nvCxnSpPr>
        <p:spPr>
          <a:xfrm>
            <a:off x="3340916" y="5924952"/>
            <a:ext cx="3138283" cy="0"/>
          </a:xfrm>
          <a:prstGeom prst="lin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TextBox 24"/>
          <p:cNvSpPr txBox="1"/>
          <p:nvPr/>
        </p:nvSpPr>
        <p:spPr>
          <a:xfrm>
            <a:off x="4212434" y="4722419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078"/>
            <a:endParaRPr lang="zh-CN" altLang="en-US" sz="2400" b="1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489938" y="4868972"/>
            <a:ext cx="1330814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078"/>
            <a:r>
              <a:rPr lang="en-US" altLang="zh-CN" sz="2133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hi</a:t>
            </a:r>
            <a:r>
              <a:rPr lang="en-US" altLang="zh-CN" sz="2133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33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ình</a:t>
            </a:r>
            <a:endParaRPr lang="zh-CN" altLang="en-US" sz="2133" b="1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35775" y="4868972"/>
            <a:ext cx="1149674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078"/>
            <a:r>
              <a:rPr lang="en-US" altLang="zh-CN" sz="2133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hi</a:t>
            </a:r>
            <a:r>
              <a:rPr lang="en-US" altLang="zh-CN" sz="2133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33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âm</a:t>
            </a:r>
            <a:endParaRPr lang="zh-CN" altLang="en-US" sz="2133" b="1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17" name="直接连接符 16"/>
          <p:cNvCxnSpPr/>
          <p:nvPr/>
        </p:nvCxnSpPr>
        <p:spPr>
          <a:xfrm flipV="1">
            <a:off x="3345033" y="5304382"/>
            <a:ext cx="0" cy="620570"/>
          </a:xfrm>
          <a:prstGeom prst="lin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TextBox 29"/>
          <p:cNvSpPr txBox="1"/>
          <p:nvPr/>
        </p:nvSpPr>
        <p:spPr>
          <a:xfrm>
            <a:off x="3928150" y="5473606"/>
            <a:ext cx="2762295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078"/>
            <a:r>
              <a:rPr lang="en-US" altLang="zh-CN" sz="2133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ăng</a:t>
            </a:r>
            <a:r>
              <a:rPr lang="en-US" altLang="zh-CN" sz="2133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33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hập</a:t>
            </a:r>
            <a:r>
              <a:rPr lang="en-US" altLang="zh-CN" sz="2133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33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ân</a:t>
            </a:r>
            <a:r>
              <a:rPr lang="en-US" altLang="zh-CN" sz="2133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33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ay</a:t>
            </a:r>
            <a:endParaRPr lang="zh-CN" altLang="en-US" sz="2133" b="1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5931" t="10442" r="38513" b="9288"/>
          <a:stretch/>
        </p:blipFill>
        <p:spPr>
          <a:xfrm>
            <a:off x="7823173" y="1221043"/>
            <a:ext cx="1800288" cy="4607912"/>
          </a:xfrm>
          <a:prstGeom prst="rect">
            <a:avLst/>
          </a:prstGeom>
        </p:spPr>
      </p:pic>
      <p:cxnSp>
        <p:nvCxnSpPr>
          <p:cNvPr id="32" name="直接连接符 31"/>
          <p:cNvCxnSpPr/>
          <p:nvPr/>
        </p:nvCxnSpPr>
        <p:spPr>
          <a:xfrm>
            <a:off x="8495160" y="2469018"/>
            <a:ext cx="2687949" cy="0"/>
          </a:xfrm>
          <a:prstGeom prst="lin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直接连接符 35"/>
          <p:cNvCxnSpPr/>
          <p:nvPr/>
        </p:nvCxnSpPr>
        <p:spPr>
          <a:xfrm>
            <a:off x="8495160" y="3812993"/>
            <a:ext cx="2262537" cy="0"/>
          </a:xfrm>
          <a:prstGeom prst="lin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7" name="直接连接符 36"/>
          <p:cNvCxnSpPr/>
          <p:nvPr/>
        </p:nvCxnSpPr>
        <p:spPr>
          <a:xfrm>
            <a:off x="8495160" y="4772974"/>
            <a:ext cx="2303956" cy="0"/>
          </a:xfrm>
          <a:prstGeom prst="lin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8" name="TextBox 37"/>
          <p:cNvSpPr txBox="1"/>
          <p:nvPr/>
        </p:nvSpPr>
        <p:spPr>
          <a:xfrm>
            <a:off x="9600078" y="2051415"/>
            <a:ext cx="1752403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078"/>
            <a:r>
              <a:rPr lang="en-US" altLang="zh-CN" sz="2133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ổng</a:t>
            </a:r>
            <a:r>
              <a:rPr lang="en-US" altLang="zh-CN" sz="2133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HDMI</a:t>
            </a:r>
            <a:endParaRPr lang="zh-CN" altLang="en-US" sz="2133" b="1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9448006" y="2819400"/>
            <a:ext cx="1627369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078"/>
            <a:r>
              <a:rPr lang="en-US" altLang="zh-CN" sz="2133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út</a:t>
            </a:r>
            <a:r>
              <a:rPr lang="en-US" altLang="zh-CN" sz="2133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33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guồn</a:t>
            </a:r>
            <a:endParaRPr lang="zh-CN" altLang="en-US" sz="2133" b="1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9673070" y="3395389"/>
            <a:ext cx="1470274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078"/>
            <a:r>
              <a:rPr lang="en-US" altLang="zh-CN" sz="2133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áo</a:t>
            </a:r>
            <a:r>
              <a:rPr lang="en-US" altLang="zh-CN" sz="2133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33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động</a:t>
            </a:r>
            <a:endParaRPr lang="zh-CN" altLang="en-US" sz="2133" b="1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9353885" y="4355371"/>
            <a:ext cx="1481496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078"/>
            <a:r>
              <a:rPr lang="en-US" altLang="zh-CN" sz="2133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hụp</a:t>
            </a:r>
            <a:r>
              <a:rPr lang="en-US" altLang="zh-CN" sz="2133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zh-CN" sz="2133" b="1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ảnh</a:t>
            </a:r>
            <a:endParaRPr lang="zh-CN" altLang="en-US" sz="2133" b="1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71" name="直接连接符 70"/>
          <p:cNvCxnSpPr/>
          <p:nvPr/>
        </p:nvCxnSpPr>
        <p:spPr>
          <a:xfrm>
            <a:off x="431314" y="5252965"/>
            <a:ext cx="2303956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接连接符 72"/>
          <p:cNvCxnSpPr/>
          <p:nvPr/>
        </p:nvCxnSpPr>
        <p:spPr>
          <a:xfrm>
            <a:off x="3695252" y="5252965"/>
            <a:ext cx="2975943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标题 1"/>
          <p:cNvSpPr>
            <a:spLocks noGrp="1"/>
          </p:cNvSpPr>
          <p:nvPr>
            <p:ph type="title"/>
          </p:nvPr>
        </p:nvSpPr>
        <p:spPr>
          <a:xfrm>
            <a:off x="609521" y="275048"/>
            <a:ext cx="7597645" cy="753998"/>
          </a:xfrm>
        </p:spPr>
        <p:txBody>
          <a:bodyPr/>
          <a:lstStyle/>
          <a:p>
            <a:r>
              <a:rPr lang="en-US" altLang="zh-CN" sz="3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SẢN PHẨM |</a:t>
            </a:r>
            <a:r>
              <a:rPr lang="en-US" altLang="zh-CN" sz="3200" dirty="0" smtClean="0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TÍNH NĂNG</a:t>
            </a:r>
            <a:endParaRPr lang="zh-CN" altLang="en-US" sz="3200" dirty="0">
              <a:solidFill>
                <a:schemeClr val="accent1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8495160" y="3237004"/>
            <a:ext cx="2687949" cy="0"/>
          </a:xfrm>
          <a:prstGeom prst="lin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xmlns="" val="26894514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Tm="11000">
        <p:fade/>
      </p:transition>
    </mc:Choice>
    <mc:Fallback>
      <p:transition spd="med" advTm="11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5" grpId="0" animBg="1"/>
      <p:bldP spid="21" grpId="0" animBg="1"/>
      <p:bldP spid="26" grpId="0"/>
      <p:bldP spid="28" grpId="0"/>
      <p:bldP spid="30" grpId="0"/>
      <p:bldP spid="38" grpId="0"/>
      <p:bldP spid="39" grpId="0"/>
      <p:bldP spid="40" grpId="0"/>
      <p:bldP spid="4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图表 1"/>
          <p:cNvGraphicFramePr/>
          <p:nvPr/>
        </p:nvGraphicFramePr>
        <p:xfrm>
          <a:off x="0" y="446"/>
          <a:ext cx="0" cy="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0" name="TextBox 28"/>
          <p:cNvSpPr txBox="1">
            <a:spLocks noChangeArrowheads="1"/>
          </p:cNvSpPr>
          <p:nvPr/>
        </p:nvSpPr>
        <p:spPr bwMode="auto">
          <a:xfrm>
            <a:off x="13205222" y="7924661"/>
            <a:ext cx="1701666" cy="318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/>
            <a:r>
              <a:rPr lang="en-US" altLang="zh-CN" sz="1467" b="1" dirty="0">
                <a:latin typeface="微软雅黑" pitchFamily="34" charset="-122"/>
                <a:ea typeface="微软雅黑" pitchFamily="34" charset="-122"/>
              </a:rPr>
              <a:t>Client-end</a:t>
            </a:r>
          </a:p>
        </p:txBody>
      </p:sp>
      <p:sp>
        <p:nvSpPr>
          <p:cNvPr id="271" name="TextBox 74"/>
          <p:cNvSpPr txBox="1">
            <a:spLocks noChangeArrowheads="1"/>
          </p:cNvSpPr>
          <p:nvPr/>
        </p:nvSpPr>
        <p:spPr bwMode="auto">
          <a:xfrm>
            <a:off x="8532230" y="8026248"/>
            <a:ext cx="2149877" cy="348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6" tIns="60959" rIns="121916" bIns="6095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en-US" altLang="zh-CN" sz="1467" b="1" dirty="0">
                <a:latin typeface="微软雅黑" pitchFamily="34" charset="-122"/>
                <a:ea typeface="微软雅黑" pitchFamily="34" charset="-122"/>
              </a:rPr>
              <a:t>Network Storage </a:t>
            </a:r>
          </a:p>
        </p:txBody>
      </p:sp>
      <p:sp>
        <p:nvSpPr>
          <p:cNvPr id="272" name="TextBox 74"/>
          <p:cNvSpPr txBox="1">
            <a:spLocks noChangeArrowheads="1"/>
          </p:cNvSpPr>
          <p:nvPr/>
        </p:nvSpPr>
        <p:spPr bwMode="auto">
          <a:xfrm>
            <a:off x="10563965" y="8026248"/>
            <a:ext cx="1523802" cy="348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6" tIns="60959" rIns="121916" bIns="6095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en-US" altLang="zh-CN" sz="1467" b="1" dirty="0">
                <a:latin typeface="微软雅黑" pitchFamily="34" charset="-122"/>
                <a:ea typeface="微软雅黑" pitchFamily="34" charset="-122"/>
              </a:rPr>
              <a:t>DSS7016-M</a:t>
            </a:r>
          </a:p>
        </p:txBody>
      </p:sp>
      <p:sp>
        <p:nvSpPr>
          <p:cNvPr id="94" name="标题 1"/>
          <p:cNvSpPr txBox="1">
            <a:spLocks/>
          </p:cNvSpPr>
          <p:nvPr/>
        </p:nvSpPr>
        <p:spPr>
          <a:xfrm>
            <a:off x="95195" y="198858"/>
            <a:ext cx="11098392" cy="56348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en-US" altLang="zh-CN" sz="3200" b="1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IÁM SÁT PHƯƠNG TIỆN</a:t>
            </a:r>
            <a:r>
              <a:rPr lang="zh-CN" altLang="en-US" sz="3200" b="1" dirty="0" smtClean="0">
                <a:solidFill>
                  <a:srgbClr val="000000"/>
                </a:solidFill>
                <a:latin typeface="Tahoma" pitchFamily="34" charset="0"/>
                <a:ea typeface="微软雅黑" pitchFamily="34" charset="-122"/>
                <a:cs typeface="Tahoma" pitchFamily="34" charset="0"/>
              </a:rPr>
              <a:t>｜</a:t>
            </a:r>
            <a:r>
              <a:rPr lang="en-US" altLang="zh-CN" sz="3200" b="1" dirty="0" smtClean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IẢI PHÁP CHO TẦU HỎA.</a:t>
            </a:r>
            <a:endParaRPr lang="zh-CN" altLang="en-US" sz="3200" b="1" dirty="0" smtClean="0">
              <a:solidFill>
                <a:srgbClr val="FF0000"/>
              </a:solidFill>
              <a:latin typeface="Tahoma" pitchFamily="34" charset="0"/>
              <a:ea typeface="微软雅黑" pitchFamily="34" charset="-122"/>
              <a:cs typeface="Tahoma" pitchFamily="34" charset="0"/>
            </a:endParaRPr>
          </a:p>
          <a:p>
            <a:pPr algn="l">
              <a:defRPr/>
            </a:pPr>
            <a:endParaRPr lang="zh-CN" altLang="en-US" sz="3200" b="1" dirty="0">
              <a:solidFill>
                <a:srgbClr val="000000"/>
              </a:solidFill>
              <a:latin typeface="Tahoma" pitchFamily="34" charset="0"/>
              <a:ea typeface="微软雅黑" pitchFamily="34" charset="-122"/>
              <a:cs typeface="Tahoma" pitchFamily="34" charset="0"/>
            </a:endParaRPr>
          </a:p>
        </p:txBody>
      </p:sp>
      <p:grpSp>
        <p:nvGrpSpPr>
          <p:cNvPr id="91" name="组合 90"/>
          <p:cNvGrpSpPr/>
          <p:nvPr/>
        </p:nvGrpSpPr>
        <p:grpSpPr>
          <a:xfrm>
            <a:off x="476149" y="952805"/>
            <a:ext cx="10952400" cy="5619058"/>
            <a:chOff x="357158" y="714362"/>
            <a:chExt cx="8215370" cy="4214842"/>
          </a:xfrm>
        </p:grpSpPr>
        <p:sp>
          <p:nvSpPr>
            <p:cNvPr id="293" name="圆角矩形 292"/>
            <p:cNvSpPr/>
            <p:nvPr/>
          </p:nvSpPr>
          <p:spPr>
            <a:xfrm>
              <a:off x="357158" y="714362"/>
              <a:ext cx="8215370" cy="2571768"/>
            </a:xfrm>
            <a:prstGeom prst="roundRect">
              <a:avLst/>
            </a:prstGeom>
            <a:solidFill>
              <a:schemeClr val="bg1"/>
            </a:solidFill>
            <a:ln w="19050"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533"/>
            </a:p>
          </p:txBody>
        </p:sp>
        <p:sp>
          <p:nvSpPr>
            <p:cNvPr id="285" name="圆角矩形 284"/>
            <p:cNvSpPr/>
            <p:nvPr/>
          </p:nvSpPr>
          <p:spPr>
            <a:xfrm>
              <a:off x="4214810" y="3429006"/>
              <a:ext cx="3429024" cy="1500198"/>
            </a:xfrm>
            <a:prstGeom prst="roundRect">
              <a:avLst/>
            </a:prstGeom>
            <a:solidFill>
              <a:schemeClr val="bg1"/>
            </a:solidFill>
            <a:ln w="19050"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533"/>
            </a:p>
          </p:txBody>
        </p:sp>
        <p:pic>
          <p:nvPicPr>
            <p:cNvPr id="200" name="Picture 6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500694" y="3786196"/>
              <a:ext cx="554260" cy="357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1" name="Picture 12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286512" y="4357700"/>
              <a:ext cx="642942" cy="2212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3" name="Picture 4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214546" y="1571618"/>
              <a:ext cx="428628" cy="2893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4" name="Picture 3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643438" y="4429138"/>
              <a:ext cx="571504" cy="2445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5" name="Picture 9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500694" y="4357700"/>
              <a:ext cx="500066" cy="3434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6" name="Picture 5"/>
            <p:cNvPicPr>
              <a:picLocks noChangeAspect="1" noChangeArrowheads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357290" y="3429006"/>
              <a:ext cx="557216" cy="9286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7" name="Picture 130" descr="图形1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43108" y="3714758"/>
              <a:ext cx="1601874" cy="4286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8" name="椭圆 207"/>
            <p:cNvSpPr/>
            <p:nvPr/>
          </p:nvSpPr>
          <p:spPr>
            <a:xfrm>
              <a:off x="1857356" y="2428874"/>
              <a:ext cx="5143536" cy="21917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533"/>
            </a:p>
          </p:txBody>
        </p:sp>
        <p:sp>
          <p:nvSpPr>
            <p:cNvPr id="209" name="矩形 208"/>
            <p:cNvSpPr/>
            <p:nvPr/>
          </p:nvSpPr>
          <p:spPr>
            <a:xfrm>
              <a:off x="3971149" y="2396967"/>
              <a:ext cx="992228" cy="2231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just"/>
              <a:r>
                <a:rPr lang="en-US" altLang="zh-CN" sz="1333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Coach network</a:t>
              </a:r>
            </a:p>
          </p:txBody>
        </p:sp>
        <p:cxnSp>
          <p:nvCxnSpPr>
            <p:cNvPr id="210" name="直接连接符 209"/>
            <p:cNvCxnSpPr>
              <a:stCxn id="208" idx="7"/>
              <a:endCxn id="75" idx="2"/>
            </p:cNvCxnSpPr>
            <p:nvPr/>
          </p:nvCxnSpPr>
          <p:spPr>
            <a:xfrm rot="5400000" flipH="1" flipV="1">
              <a:off x="6322464" y="2282610"/>
              <a:ext cx="103536" cy="253188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直接连接符 210"/>
            <p:cNvCxnSpPr>
              <a:stCxn id="204" idx="0"/>
              <a:endCxn id="200" idx="2"/>
            </p:cNvCxnSpPr>
            <p:nvPr/>
          </p:nvCxnSpPr>
          <p:spPr>
            <a:xfrm rot="5400000" flipH="1" flipV="1">
              <a:off x="5210631" y="3861945"/>
              <a:ext cx="285752" cy="848634"/>
            </a:xfrm>
            <a:prstGeom prst="line">
              <a:avLst/>
            </a:prstGeom>
            <a:ln w="22225">
              <a:solidFill>
                <a:srgbClr val="EAB2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2" name="Picture 2" descr="C:\Documents and Settings\Administrator\桌面\内部发布\油罐车视频监控联网visio原图\A4 油罐车视频监控联网解决方案基础版V1.0\A4 油罐车视频监控联网解决方案基础版V1.0.jpg"/>
            <p:cNvPicPr>
              <a:picLocks noChangeAspect="1" noChangeArrowheads="1"/>
            </p:cNvPicPr>
            <p:nvPr/>
          </p:nvPicPr>
          <p:blipFill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57686" y="3714758"/>
              <a:ext cx="307293" cy="490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220" name="直接连接符 219"/>
            <p:cNvCxnSpPr>
              <a:stCxn id="201" idx="0"/>
              <a:endCxn id="200" idx="2"/>
            </p:cNvCxnSpPr>
            <p:nvPr/>
          </p:nvCxnSpPr>
          <p:spPr>
            <a:xfrm rot="16200000" flipV="1">
              <a:off x="6085747" y="3835463"/>
              <a:ext cx="214314" cy="830159"/>
            </a:xfrm>
            <a:prstGeom prst="line">
              <a:avLst/>
            </a:prstGeom>
            <a:ln w="22225">
              <a:solidFill>
                <a:srgbClr val="EAB2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直接连接符 222"/>
            <p:cNvCxnSpPr>
              <a:stCxn id="205" idx="0"/>
              <a:endCxn id="200" idx="2"/>
            </p:cNvCxnSpPr>
            <p:nvPr/>
          </p:nvCxnSpPr>
          <p:spPr>
            <a:xfrm rot="5400000" flipH="1" flipV="1">
              <a:off x="5657118" y="4236995"/>
              <a:ext cx="214314" cy="27097"/>
            </a:xfrm>
            <a:prstGeom prst="line">
              <a:avLst/>
            </a:prstGeom>
            <a:ln w="22225">
              <a:solidFill>
                <a:srgbClr val="EAB2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6" name="Picture 1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714480" y="1142990"/>
              <a:ext cx="357190" cy="163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7" name="Picture 1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285984" y="1142990"/>
              <a:ext cx="357190" cy="163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8" name="Picture 1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857488" y="1142990"/>
              <a:ext cx="357190" cy="163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229" name="直接连接符 228"/>
            <p:cNvCxnSpPr>
              <a:stCxn id="203" idx="0"/>
              <a:endCxn id="226" idx="2"/>
            </p:cNvCxnSpPr>
            <p:nvPr/>
          </p:nvCxnSpPr>
          <p:spPr>
            <a:xfrm rot="16200000" flipV="1">
              <a:off x="2028243" y="1171000"/>
              <a:ext cx="265451" cy="535785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直接连接符 231"/>
            <p:cNvCxnSpPr>
              <a:stCxn id="203" idx="0"/>
              <a:endCxn id="227" idx="2"/>
            </p:cNvCxnSpPr>
            <p:nvPr/>
          </p:nvCxnSpPr>
          <p:spPr>
            <a:xfrm rot="5400000" flipH="1" flipV="1">
              <a:off x="2313994" y="1421034"/>
              <a:ext cx="265451" cy="35719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直接连接符 234"/>
            <p:cNvCxnSpPr>
              <a:stCxn id="228" idx="2"/>
              <a:endCxn id="203" idx="0"/>
            </p:cNvCxnSpPr>
            <p:nvPr/>
          </p:nvCxnSpPr>
          <p:spPr>
            <a:xfrm rot="5400000">
              <a:off x="2599747" y="1135281"/>
              <a:ext cx="265451" cy="607223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45" name="Picture 1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714744" y="1142990"/>
              <a:ext cx="357190" cy="163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6" name="Picture 1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286248" y="1142990"/>
              <a:ext cx="357190" cy="163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7" name="Picture 1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857752" y="1142990"/>
              <a:ext cx="357190" cy="163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248" name="直接连接符 247"/>
            <p:cNvCxnSpPr>
              <a:endCxn id="245" idx="2"/>
            </p:cNvCxnSpPr>
            <p:nvPr/>
          </p:nvCxnSpPr>
          <p:spPr>
            <a:xfrm rot="16200000" flipV="1">
              <a:off x="4028507" y="1171000"/>
              <a:ext cx="265451" cy="535785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直接连接符 248"/>
            <p:cNvCxnSpPr>
              <a:endCxn id="246" idx="2"/>
            </p:cNvCxnSpPr>
            <p:nvPr/>
          </p:nvCxnSpPr>
          <p:spPr>
            <a:xfrm rot="5400000" flipH="1" flipV="1">
              <a:off x="4314258" y="1421034"/>
              <a:ext cx="265451" cy="35719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直接连接符 249"/>
            <p:cNvCxnSpPr>
              <a:stCxn id="247" idx="2"/>
            </p:cNvCxnSpPr>
            <p:nvPr/>
          </p:nvCxnSpPr>
          <p:spPr>
            <a:xfrm rot="5400000">
              <a:off x="4600011" y="1135281"/>
              <a:ext cx="265451" cy="607223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51" name="Picture 4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357950" y="1571618"/>
              <a:ext cx="428628" cy="2893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52" name="Picture 1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857884" y="1142990"/>
              <a:ext cx="357190" cy="163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53" name="Picture 1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429388" y="1142990"/>
              <a:ext cx="357190" cy="163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54" name="Picture 1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7000892" y="1142990"/>
              <a:ext cx="357190" cy="163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255" name="直接连接符 254"/>
            <p:cNvCxnSpPr>
              <a:stCxn id="251" idx="0"/>
              <a:endCxn id="252" idx="2"/>
            </p:cNvCxnSpPr>
            <p:nvPr/>
          </p:nvCxnSpPr>
          <p:spPr>
            <a:xfrm rot="16200000" flipV="1">
              <a:off x="6171647" y="1171000"/>
              <a:ext cx="265451" cy="535785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直接连接符 255"/>
            <p:cNvCxnSpPr>
              <a:stCxn id="251" idx="0"/>
              <a:endCxn id="253" idx="2"/>
            </p:cNvCxnSpPr>
            <p:nvPr/>
          </p:nvCxnSpPr>
          <p:spPr>
            <a:xfrm rot="5400000" flipH="1" flipV="1">
              <a:off x="6457398" y="1421034"/>
              <a:ext cx="265451" cy="35719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直接连接符 256"/>
            <p:cNvCxnSpPr>
              <a:stCxn id="254" idx="2"/>
              <a:endCxn id="251" idx="0"/>
            </p:cNvCxnSpPr>
            <p:nvPr/>
          </p:nvCxnSpPr>
          <p:spPr>
            <a:xfrm rot="5400000">
              <a:off x="6743151" y="1135281"/>
              <a:ext cx="265451" cy="607223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直接连接符 257"/>
            <p:cNvCxnSpPr>
              <a:stCxn id="66" idx="2"/>
              <a:endCxn id="208" idx="1"/>
            </p:cNvCxnSpPr>
            <p:nvPr/>
          </p:nvCxnSpPr>
          <p:spPr>
            <a:xfrm rot="16200000" flipH="1">
              <a:off x="2432248" y="2282610"/>
              <a:ext cx="174974" cy="18175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直接连接符 260"/>
            <p:cNvCxnSpPr>
              <a:stCxn id="209" idx="0"/>
              <a:endCxn id="72" idx="2"/>
            </p:cNvCxnSpPr>
            <p:nvPr/>
          </p:nvCxnSpPr>
          <p:spPr>
            <a:xfrm rot="16200000" flipV="1">
              <a:off x="4392709" y="2322413"/>
              <a:ext cx="110969" cy="38139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5" name="线形标注 2 264"/>
            <p:cNvSpPr/>
            <p:nvPr/>
          </p:nvSpPr>
          <p:spPr bwMode="auto">
            <a:xfrm>
              <a:off x="4714876" y="1714494"/>
              <a:ext cx="1500198" cy="482931"/>
            </a:xfrm>
            <a:prstGeom prst="borderCallout2">
              <a:avLst>
                <a:gd name="adj1" fmla="val 51835"/>
                <a:gd name="adj2" fmla="val 4993"/>
                <a:gd name="adj3" fmla="val 62141"/>
                <a:gd name="adj4" fmla="val -33734"/>
                <a:gd name="adj5" fmla="val 5358"/>
                <a:gd name="adj6" fmla="val -135348"/>
              </a:avLst>
            </a:prstGeom>
            <a:solidFill>
              <a:srgbClr val="0070C0">
                <a:alpha val="82000"/>
              </a:srgbClr>
            </a:solidFill>
            <a:ln>
              <a:solidFill>
                <a:srgbClr val="0070C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altLang="zh-CN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Theo </a:t>
              </a:r>
              <a:r>
                <a:rPr lang="en-US" altLang="zh-CN" sz="1200" b="1" dirty="0" err="1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õi</a:t>
              </a:r>
              <a:r>
                <a:rPr lang="en-US" altLang="zh-CN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b="1" dirty="0" err="1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hành</a:t>
              </a:r>
              <a:r>
                <a:rPr lang="en-US" altLang="zh-CN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b="1" dirty="0" err="1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khách</a:t>
              </a:r>
              <a:r>
                <a:rPr lang="en-US" altLang="zh-CN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b="1" dirty="0" err="1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và</a:t>
              </a:r>
              <a:r>
                <a:rPr lang="en-US" altLang="zh-CN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b="1" dirty="0" err="1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biểu</a:t>
              </a:r>
              <a:r>
                <a:rPr lang="en-US" altLang="zh-CN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b="1" dirty="0" err="1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hiện</a:t>
              </a:r>
              <a:r>
                <a:rPr lang="en-US" altLang="zh-CN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b="1" dirty="0" err="1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của</a:t>
              </a:r>
              <a:r>
                <a:rPr lang="en-US" altLang="zh-CN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b="1" dirty="0" err="1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tài</a:t>
              </a:r>
              <a:r>
                <a:rPr lang="en-US" altLang="zh-CN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b="1" dirty="0" err="1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xế</a:t>
              </a:r>
              <a:r>
                <a:rPr lang="en-US" altLang="zh-CN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.</a:t>
              </a:r>
              <a:endParaRPr lang="en-US" altLang="zh-CN" sz="12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66" name="线形标注 2 265"/>
            <p:cNvSpPr/>
            <p:nvPr/>
          </p:nvSpPr>
          <p:spPr bwMode="auto">
            <a:xfrm>
              <a:off x="428597" y="1857370"/>
              <a:ext cx="1285884" cy="466722"/>
            </a:xfrm>
            <a:prstGeom prst="borderCallout2">
              <a:avLst>
                <a:gd name="adj1" fmla="val 97517"/>
                <a:gd name="adj2" fmla="val 48290"/>
                <a:gd name="adj3" fmla="val 128452"/>
                <a:gd name="adj4" fmla="val 48788"/>
                <a:gd name="adj5" fmla="val 242189"/>
                <a:gd name="adj6" fmla="val 61317"/>
              </a:avLst>
            </a:prstGeom>
            <a:solidFill>
              <a:srgbClr val="0070C0">
                <a:alpha val="82000"/>
              </a:srgbClr>
            </a:solidFill>
            <a:ln>
              <a:solidFill>
                <a:srgbClr val="0070C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en-US" altLang="zh-CN" sz="1200" b="1" dirty="0" err="1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Tài</a:t>
              </a:r>
              <a:r>
                <a:rPr lang="en-US" altLang="zh-CN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b="1" dirty="0" err="1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xế</a:t>
              </a:r>
              <a:r>
                <a:rPr lang="en-US" altLang="zh-CN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b="1" dirty="0" err="1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theo</a:t>
              </a:r>
              <a:r>
                <a:rPr lang="en-US" altLang="zh-CN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b="1" dirty="0" err="1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õi</a:t>
              </a:r>
              <a:r>
                <a:rPr lang="en-US" altLang="zh-CN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b="1" dirty="0" err="1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hình</a:t>
              </a:r>
              <a:r>
                <a:rPr lang="en-US" altLang="zh-CN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b="1" dirty="0" err="1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ảnh</a:t>
              </a:r>
              <a:r>
                <a:rPr lang="en-US" altLang="zh-CN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b="1" dirty="0" err="1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của</a:t>
              </a:r>
              <a:r>
                <a:rPr lang="en-US" altLang="zh-CN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b="1" dirty="0" err="1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từng</a:t>
              </a:r>
              <a:r>
                <a:rPr lang="en-US" altLang="zh-CN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b="1" dirty="0" err="1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toa</a:t>
              </a:r>
              <a:endParaRPr lang="en-US" altLang="zh-CN" sz="12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68" name="TextBox 109"/>
            <p:cNvSpPr txBox="1">
              <a:spLocks noChangeArrowheads="1"/>
            </p:cNvSpPr>
            <p:nvPr/>
          </p:nvSpPr>
          <p:spPr bwMode="auto">
            <a:xfrm>
              <a:off x="1142976" y="4429138"/>
              <a:ext cx="1042668" cy="2308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16" tIns="60959" rIns="121916" bIns="60959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 eaLnBrk="1" hangingPunct="1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Base Station </a:t>
              </a:r>
            </a:p>
          </p:txBody>
        </p:sp>
        <p:sp>
          <p:nvSpPr>
            <p:cNvPr id="269" name="矩形 268"/>
            <p:cNvSpPr/>
            <p:nvPr/>
          </p:nvSpPr>
          <p:spPr>
            <a:xfrm>
              <a:off x="2757724" y="3786196"/>
              <a:ext cx="387176" cy="2077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just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WAN</a:t>
              </a:r>
            </a:p>
          </p:txBody>
        </p:sp>
        <p:sp>
          <p:nvSpPr>
            <p:cNvPr id="273" name="TextBox 38"/>
            <p:cNvSpPr txBox="1">
              <a:spLocks noChangeArrowheads="1"/>
            </p:cNvSpPr>
            <p:nvPr/>
          </p:nvSpPr>
          <p:spPr bwMode="auto">
            <a:xfrm>
              <a:off x="4429124" y="3555353"/>
              <a:ext cx="829516" cy="2308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16" tIns="60959" rIns="121916" bIns="60959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eaLnBrk="1" hangingPunct="1"/>
              <a:r>
                <a:rPr lang="en-US" altLang="zh-CN" sz="1200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Tường</a:t>
              </a:r>
              <a:r>
                <a:rPr lang="en-US" altLang="zh-CN" sz="1200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Lửa</a:t>
              </a:r>
              <a:r>
                <a:rPr lang="en-US" altLang="zh-CN" sz="1200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endParaRPr lang="en-US" altLang="zh-CN" sz="1200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74" name="TextBox 143384"/>
            <p:cNvSpPr txBox="1">
              <a:spLocks noChangeArrowheads="1"/>
            </p:cNvSpPr>
            <p:nvPr/>
          </p:nvSpPr>
          <p:spPr bwMode="auto">
            <a:xfrm>
              <a:off x="6072198" y="3643320"/>
              <a:ext cx="1571636" cy="246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21916" tIns="60959" rIns="121916" bIns="60959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eaLnBrk="1" hangingPunct="1"/>
              <a:r>
                <a:rPr lang="en-US" altLang="zh-CN" sz="1333" b="1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Trung</a:t>
              </a:r>
              <a:r>
                <a:rPr lang="en-US" altLang="zh-CN" sz="1333" b="1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333" b="1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Tâm</a:t>
              </a:r>
              <a:r>
                <a:rPr lang="en-US" altLang="zh-CN" sz="1333" b="1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333" b="1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Giám</a:t>
              </a:r>
              <a:r>
                <a:rPr lang="en-US" altLang="zh-CN" sz="1333" b="1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333" b="1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Sát</a:t>
              </a:r>
              <a:endParaRPr lang="en-US" altLang="zh-CN" sz="1333" b="1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75" name="TextBox 35"/>
            <p:cNvSpPr txBox="1">
              <a:spLocks noChangeArrowheads="1"/>
            </p:cNvSpPr>
            <p:nvPr/>
          </p:nvSpPr>
          <p:spPr bwMode="auto">
            <a:xfrm>
              <a:off x="5429361" y="3486269"/>
              <a:ext cx="667875" cy="369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16" tIns="60959" rIns="121916" bIns="60959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eaLnBrk="1" hangingPunct="1"/>
              <a:r>
                <a:rPr lang="en-US" altLang="zh-CN" sz="1200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Bộ</a:t>
              </a:r>
              <a:r>
                <a:rPr lang="en-US" altLang="zh-CN" sz="1200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Chia</a:t>
              </a:r>
              <a:r>
                <a:rPr lang="en-US" altLang="zh-CN" sz="1200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200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Mạng</a:t>
              </a:r>
              <a:endParaRPr lang="en-US" altLang="zh-CN" sz="1200" dirty="0" smtClean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76" name="TextBox 109"/>
            <p:cNvSpPr txBox="1">
              <a:spLocks noChangeArrowheads="1"/>
            </p:cNvSpPr>
            <p:nvPr/>
          </p:nvSpPr>
          <p:spPr bwMode="auto">
            <a:xfrm>
              <a:off x="785786" y="3786196"/>
              <a:ext cx="1042668" cy="2308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16" tIns="60959" rIns="121916" bIns="60959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 eaLnBrk="1" hangingPunct="1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3G/4G</a:t>
              </a:r>
            </a:p>
          </p:txBody>
        </p:sp>
        <p:sp>
          <p:nvSpPr>
            <p:cNvPr id="277" name="TextBox 143384"/>
            <p:cNvSpPr txBox="1">
              <a:spLocks noChangeArrowheads="1"/>
            </p:cNvSpPr>
            <p:nvPr/>
          </p:nvSpPr>
          <p:spPr bwMode="auto">
            <a:xfrm>
              <a:off x="7643834" y="1357304"/>
              <a:ext cx="785818" cy="246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21916" tIns="60959" rIns="121916" bIns="60959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eaLnBrk="1" hangingPunct="1"/>
              <a:r>
                <a:rPr lang="en-US" altLang="zh-CN" sz="1333" b="1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Trên</a:t>
              </a:r>
              <a:r>
                <a:rPr lang="en-US" altLang="zh-CN" sz="1333" b="1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altLang="zh-CN" sz="1333" b="1" dirty="0" err="1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Tầu</a:t>
              </a:r>
              <a:endParaRPr lang="en-US" altLang="zh-CN" sz="1333" b="1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78" name="矩形 277"/>
            <p:cNvSpPr/>
            <p:nvPr/>
          </p:nvSpPr>
          <p:spPr>
            <a:xfrm>
              <a:off x="6831280" y="1571618"/>
              <a:ext cx="356154" cy="2077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just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NVR</a:t>
              </a:r>
            </a:p>
          </p:txBody>
        </p:sp>
        <p:sp>
          <p:nvSpPr>
            <p:cNvPr id="280" name="矩形 279"/>
            <p:cNvSpPr/>
            <p:nvPr/>
          </p:nvSpPr>
          <p:spPr>
            <a:xfrm>
              <a:off x="2687876" y="1500180"/>
              <a:ext cx="356154" cy="2077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just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NVR</a:t>
              </a:r>
            </a:p>
          </p:txBody>
        </p:sp>
        <p:cxnSp>
          <p:nvCxnSpPr>
            <p:cNvPr id="286" name="直接连接符 285"/>
            <p:cNvCxnSpPr>
              <a:stCxn id="212" idx="3"/>
              <a:endCxn id="200" idx="1"/>
            </p:cNvCxnSpPr>
            <p:nvPr/>
          </p:nvCxnSpPr>
          <p:spPr>
            <a:xfrm>
              <a:off x="4664979" y="3959971"/>
              <a:ext cx="835715" cy="4820"/>
            </a:xfrm>
            <a:prstGeom prst="line">
              <a:avLst/>
            </a:prstGeom>
            <a:ln w="22225">
              <a:solidFill>
                <a:srgbClr val="EAB2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0" name="直接连接符 289"/>
            <p:cNvCxnSpPr>
              <a:stCxn id="212" idx="1"/>
              <a:endCxn id="207" idx="3"/>
            </p:cNvCxnSpPr>
            <p:nvPr/>
          </p:nvCxnSpPr>
          <p:spPr>
            <a:xfrm rot="10800000">
              <a:off x="3744982" y="3929073"/>
              <a:ext cx="612704" cy="30899"/>
            </a:xfrm>
            <a:prstGeom prst="line">
              <a:avLst/>
            </a:prstGeom>
            <a:ln w="22225">
              <a:solidFill>
                <a:srgbClr val="EAB2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94" name="Picture 7"/>
            <p:cNvPicPr>
              <a:picLocks noChangeAspect="1" noChangeArrowheads="1"/>
            </p:cNvPicPr>
            <p:nvPr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71472" y="2357436"/>
              <a:ext cx="388957" cy="4286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295" name="直接连接符 294"/>
            <p:cNvCxnSpPr/>
            <p:nvPr/>
          </p:nvCxnSpPr>
          <p:spPr>
            <a:xfrm rot="16200000" flipV="1">
              <a:off x="4888726" y="1754959"/>
              <a:ext cx="1662112" cy="9548"/>
            </a:xfrm>
            <a:prstGeom prst="line">
              <a:avLst/>
            </a:prstGeom>
            <a:ln w="22225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7" name="直接连接符 296"/>
            <p:cNvCxnSpPr/>
            <p:nvPr/>
          </p:nvCxnSpPr>
          <p:spPr>
            <a:xfrm rot="16200000" flipV="1">
              <a:off x="2531272" y="1754959"/>
              <a:ext cx="1662112" cy="9548"/>
            </a:xfrm>
            <a:prstGeom prst="line">
              <a:avLst/>
            </a:prstGeom>
            <a:ln w="22225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8" name="矩形 297"/>
            <p:cNvSpPr/>
            <p:nvPr/>
          </p:nvSpPr>
          <p:spPr>
            <a:xfrm>
              <a:off x="6303616" y="857238"/>
              <a:ext cx="687153" cy="2077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just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IP Camera</a:t>
              </a:r>
            </a:p>
          </p:txBody>
        </p:sp>
        <p:sp>
          <p:nvSpPr>
            <p:cNvPr id="299" name="矩形 298"/>
            <p:cNvSpPr/>
            <p:nvPr/>
          </p:nvSpPr>
          <p:spPr>
            <a:xfrm>
              <a:off x="1874460" y="857238"/>
              <a:ext cx="687153" cy="2077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just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IP Camera</a:t>
              </a:r>
            </a:p>
          </p:txBody>
        </p:sp>
        <p:pic>
          <p:nvPicPr>
            <p:cNvPr id="66" name="Picture 3"/>
            <p:cNvPicPr>
              <a:picLocks noChangeAspect="1" noChangeArrowheads="1"/>
            </p:cNvPicPr>
            <p:nvPr/>
          </p:nvPicPr>
          <p:blipFill>
            <a:blip r:embed="rId1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214546" y="2000246"/>
              <a:ext cx="428627" cy="285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0" name="Picture 4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214810" y="1571618"/>
              <a:ext cx="428628" cy="2893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2" name="Picture 3"/>
            <p:cNvPicPr>
              <a:picLocks noChangeAspect="1" noChangeArrowheads="1"/>
            </p:cNvPicPr>
            <p:nvPr/>
          </p:nvPicPr>
          <p:blipFill>
            <a:blip r:embed="rId1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214810" y="2000246"/>
              <a:ext cx="428627" cy="285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5" name="Picture 3"/>
            <p:cNvPicPr>
              <a:picLocks noChangeAspect="1" noChangeArrowheads="1"/>
            </p:cNvPicPr>
            <p:nvPr/>
          </p:nvPicPr>
          <p:blipFill>
            <a:blip r:embed="rId1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286512" y="2071684"/>
              <a:ext cx="428627" cy="285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79" name="直接连接符 78"/>
            <p:cNvCxnSpPr>
              <a:stCxn id="251" idx="2"/>
              <a:endCxn id="75" idx="0"/>
            </p:cNvCxnSpPr>
            <p:nvPr/>
          </p:nvCxnSpPr>
          <p:spPr>
            <a:xfrm rot="5400000">
              <a:off x="6431180" y="1930599"/>
              <a:ext cx="210731" cy="71438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>
              <a:stCxn id="70" idx="2"/>
              <a:endCxn id="72" idx="0"/>
            </p:cNvCxnSpPr>
            <p:nvPr/>
          </p:nvCxnSpPr>
          <p:spPr>
            <a:xfrm rot="5400000">
              <a:off x="4359478" y="1930599"/>
              <a:ext cx="139293" cy="1588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直接连接符 84"/>
            <p:cNvCxnSpPr>
              <a:stCxn id="203" idx="2"/>
              <a:endCxn id="66" idx="0"/>
            </p:cNvCxnSpPr>
            <p:nvPr/>
          </p:nvCxnSpPr>
          <p:spPr>
            <a:xfrm rot="5400000">
              <a:off x="2359214" y="1930599"/>
              <a:ext cx="139293" cy="1588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矩形 89"/>
            <p:cNvSpPr/>
            <p:nvPr/>
          </p:nvSpPr>
          <p:spPr>
            <a:xfrm>
              <a:off x="3830884" y="1571618"/>
              <a:ext cx="356154" cy="2077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just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NVR</a:t>
              </a:r>
            </a:p>
          </p:txBody>
        </p:sp>
        <p:sp>
          <p:nvSpPr>
            <p:cNvPr id="92" name="矩形 91"/>
            <p:cNvSpPr/>
            <p:nvPr/>
          </p:nvSpPr>
          <p:spPr>
            <a:xfrm>
              <a:off x="4160477" y="912158"/>
              <a:ext cx="687153" cy="2077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just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IP Camera</a:t>
              </a:r>
            </a:p>
          </p:txBody>
        </p:sp>
        <p:sp>
          <p:nvSpPr>
            <p:cNvPr id="73" name="矩形 72"/>
            <p:cNvSpPr/>
            <p:nvPr/>
          </p:nvSpPr>
          <p:spPr>
            <a:xfrm>
              <a:off x="1847420" y="2143122"/>
              <a:ext cx="477597" cy="2077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just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Switch</a:t>
              </a:r>
            </a:p>
          </p:txBody>
        </p:sp>
        <p:sp>
          <p:nvSpPr>
            <p:cNvPr id="74" name="矩形 73"/>
            <p:cNvSpPr/>
            <p:nvPr/>
          </p:nvSpPr>
          <p:spPr>
            <a:xfrm>
              <a:off x="3704808" y="2071684"/>
              <a:ext cx="477597" cy="2077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just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Switch</a:t>
              </a:r>
            </a:p>
          </p:txBody>
        </p:sp>
        <p:sp>
          <p:nvSpPr>
            <p:cNvPr id="76" name="矩形 75"/>
            <p:cNvSpPr/>
            <p:nvPr/>
          </p:nvSpPr>
          <p:spPr>
            <a:xfrm>
              <a:off x="6705204" y="2071684"/>
              <a:ext cx="477597" cy="2077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just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Switch</a:t>
              </a:r>
            </a:p>
          </p:txBody>
        </p:sp>
        <p:sp>
          <p:nvSpPr>
            <p:cNvPr id="77" name="矩形 76"/>
            <p:cNvSpPr/>
            <p:nvPr/>
          </p:nvSpPr>
          <p:spPr>
            <a:xfrm>
              <a:off x="6715140" y="1071552"/>
              <a:ext cx="357190" cy="2539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600" b="1" dirty="0"/>
                <a:t>…</a:t>
              </a:r>
              <a:endParaRPr lang="zh-CN" altLang="en-US" sz="1600" b="1" dirty="0"/>
            </a:p>
          </p:txBody>
        </p:sp>
        <p:sp>
          <p:nvSpPr>
            <p:cNvPr id="78" name="矩形 77"/>
            <p:cNvSpPr/>
            <p:nvPr/>
          </p:nvSpPr>
          <p:spPr>
            <a:xfrm>
              <a:off x="4572000" y="1080305"/>
              <a:ext cx="357190" cy="2539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600" b="1" dirty="0"/>
                <a:t>…</a:t>
              </a:r>
              <a:endParaRPr lang="zh-CN" altLang="en-US" sz="1600" b="1" dirty="0"/>
            </a:p>
          </p:txBody>
        </p:sp>
        <p:sp>
          <p:nvSpPr>
            <p:cNvPr id="80" name="矩形 79"/>
            <p:cNvSpPr/>
            <p:nvPr/>
          </p:nvSpPr>
          <p:spPr>
            <a:xfrm>
              <a:off x="2571736" y="1008867"/>
              <a:ext cx="357190" cy="2539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600" b="1" dirty="0"/>
                <a:t>…</a:t>
              </a:r>
              <a:endParaRPr lang="zh-CN" altLang="en-US" sz="1600" b="1" dirty="0"/>
            </a:p>
          </p:txBody>
        </p:sp>
        <p:sp>
          <p:nvSpPr>
            <p:cNvPr id="81" name="矩形 80"/>
            <p:cNvSpPr/>
            <p:nvPr/>
          </p:nvSpPr>
          <p:spPr>
            <a:xfrm>
              <a:off x="6495323" y="4572014"/>
              <a:ext cx="473894" cy="2077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just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DSS-M</a:t>
              </a:r>
            </a:p>
          </p:txBody>
        </p:sp>
        <p:sp>
          <p:nvSpPr>
            <p:cNvPr id="83" name="矩形 82"/>
            <p:cNvSpPr/>
            <p:nvPr/>
          </p:nvSpPr>
          <p:spPr>
            <a:xfrm>
              <a:off x="4715790" y="4643452"/>
              <a:ext cx="541325" cy="2077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just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Storage</a:t>
              </a:r>
            </a:p>
          </p:txBody>
        </p:sp>
        <p:sp>
          <p:nvSpPr>
            <p:cNvPr id="84" name="矩形 83"/>
            <p:cNvSpPr/>
            <p:nvPr/>
          </p:nvSpPr>
          <p:spPr>
            <a:xfrm>
              <a:off x="5554937" y="4626934"/>
              <a:ext cx="431906" cy="2077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just"/>
              <a:r>
                <a:rPr lang="en-US" altLang="zh-CN" sz="1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Client</a:t>
              </a:r>
            </a:p>
          </p:txBody>
        </p:sp>
        <p:pic>
          <p:nvPicPr>
            <p:cNvPr id="86" name="Picture 8"/>
            <p:cNvPicPr>
              <a:picLocks noChangeAspect="1" noChangeArrowheads="1"/>
            </p:cNvPicPr>
            <p:nvPr/>
          </p:nvPicPr>
          <p:blipFill>
            <a:blip r:embed="rId1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7143768" y="3929072"/>
              <a:ext cx="428628" cy="5899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87" name="直接连接符 86"/>
            <p:cNvCxnSpPr>
              <a:stCxn id="86" idx="1"/>
              <a:endCxn id="201" idx="3"/>
            </p:cNvCxnSpPr>
            <p:nvPr/>
          </p:nvCxnSpPr>
          <p:spPr>
            <a:xfrm rot="10800000" flipV="1">
              <a:off x="6929454" y="4224040"/>
              <a:ext cx="214314" cy="244300"/>
            </a:xfrm>
            <a:prstGeom prst="line">
              <a:avLst/>
            </a:prstGeom>
            <a:ln w="22225">
              <a:solidFill>
                <a:srgbClr val="EAB2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8" name="Picture 2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3357554" y="2714626"/>
              <a:ext cx="2357454" cy="5201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89" name="Picture 2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5715008" y="2714626"/>
              <a:ext cx="2214578" cy="5201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051" name="Picture 3"/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1071538" y="2714626"/>
              <a:ext cx="2286016" cy="5000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xmlns="" val="2537566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nQq2F3kWgbZK.uGPhEQ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3_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5_Office 主题">
  <a:themeElements>
    <a:clrScheme name="自定义 1">
      <a:dk1>
        <a:sysClr val="windowText" lastClr="000000"/>
      </a:dk1>
      <a:lt1>
        <a:sysClr val="window" lastClr="FFFFFF"/>
      </a:lt1>
      <a:dk2>
        <a:srgbClr val="575F6D"/>
      </a:dk2>
      <a:lt2>
        <a:srgbClr val="FFF39D"/>
      </a:lt2>
      <a:accent1>
        <a:srgbClr val="FE8637"/>
      </a:accent1>
      <a:accent2>
        <a:srgbClr val="FE8637"/>
      </a:accent2>
      <a:accent3>
        <a:srgbClr val="B32C16"/>
      </a:accent3>
      <a:accent4>
        <a:srgbClr val="F5CD2D"/>
      </a:accent4>
      <a:accent5>
        <a:srgbClr val="AEBAD5"/>
      </a:accent5>
      <a:accent6>
        <a:srgbClr val="777C84"/>
      </a:accent6>
      <a:hlink>
        <a:srgbClr val="D2611C"/>
      </a:hlink>
      <a:folHlink>
        <a:srgbClr val="3B435B"/>
      </a:folHlink>
    </a:clrScheme>
    <a:fontScheme name="自定义 7">
      <a:majorFont>
        <a:latin typeface="Arial Black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50000"/>
          </a:schemeClr>
        </a:solidFill>
        <a:ln w="9525">
          <a:noFill/>
          <a:miter lim="800000"/>
          <a:headEnd/>
          <a:tailEnd/>
        </a:ln>
      </a:spPr>
      <a:bodyPr wrap="square" lIns="137172" tIns="34294" rIns="68586" bIns="68586" anchor="b" anchorCtr="0"/>
      <a:lstStyle>
        <a:defPPr defTabSz="685637" fontAlgn="base">
          <a:spcBef>
            <a:spcPct val="0"/>
          </a:spcBef>
          <a:spcAft>
            <a:spcPct val="0"/>
          </a:spcAft>
          <a:defRPr sz="1200" spc="-38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latin typeface="微软雅黑" pitchFamily="34" charset="-122"/>
            <a:ea typeface="微软雅黑" pitchFamily="34" charset="-122"/>
            <a:cs typeface="Segoe UI" pitchFamily="34" charset="0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6_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50000"/>
          </a:schemeClr>
        </a:solidFill>
        <a:ln w="9525">
          <a:noFill/>
          <a:miter lim="800000"/>
          <a:headEnd/>
          <a:tailEnd/>
        </a:ln>
      </a:spPr>
      <a:bodyPr wrap="square" lIns="137172" tIns="34294" rIns="68586" bIns="68586" anchor="b" anchorCtr="0"/>
      <a:lstStyle>
        <a:defPPr defTabSz="685637" fontAlgn="base">
          <a:spcBef>
            <a:spcPct val="0"/>
          </a:spcBef>
          <a:spcAft>
            <a:spcPct val="0"/>
          </a:spcAft>
          <a:defRPr sz="1200" spc="-38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latin typeface="微软雅黑" pitchFamily="34" charset="-122"/>
            <a:ea typeface="微软雅黑" pitchFamily="34" charset="-122"/>
            <a:cs typeface="Segoe UI" pitchFamily="34" charset="0"/>
          </a:defRPr>
        </a:defPPr>
      </a:lstStyle>
    </a:spDef>
  </a:objectDefaults>
  <a:extraClrSchemeLst/>
</a:theme>
</file>

<file path=ppt/theme/theme4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chEd_2012_Template_16x9">
  <a:themeElements>
    <a:clrScheme name="自定义 22">
      <a:dk1>
        <a:srgbClr val="363535"/>
      </a:dk1>
      <a:lt1>
        <a:srgbClr val="FFFFFF"/>
      </a:lt1>
      <a:dk2>
        <a:srgbClr val="1D4C7C"/>
      </a:dk2>
      <a:lt2>
        <a:srgbClr val="3397D3"/>
      </a:lt2>
      <a:accent1>
        <a:srgbClr val="3397D3"/>
      </a:accent1>
      <a:accent2>
        <a:srgbClr val="8E499C"/>
      </a:accent2>
      <a:accent3>
        <a:srgbClr val="ED5326"/>
      </a:accent3>
      <a:accent4>
        <a:srgbClr val="3BBEB4"/>
      </a:accent4>
      <a:accent5>
        <a:srgbClr val="94C949"/>
      </a:accent5>
      <a:accent6>
        <a:srgbClr val="E7B921"/>
      </a:accent6>
      <a:hlink>
        <a:srgbClr val="FFFFFF"/>
      </a:hlink>
      <a:folHlink>
        <a:srgbClr val="FFFFFF"/>
      </a:folHlink>
    </a:clrScheme>
    <a:fontScheme name="Segoe UI -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>
          <a:defRPr sz="2200" dirty="0" smtClean="0">
            <a:solidFill>
              <a:srgbClr val="FFFFFF">
                <a:alpha val="98824"/>
              </a:srgbClr>
            </a:solidFill>
            <a:latin typeface="Segoe UI" pitchFamily="34" charset="0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91440" rIns="91440" bIns="91440" rtlCol="0">
        <a:spAutoFit/>
      </a:bodyPr>
      <a:lstStyle>
        <a:defPPr>
          <a:lnSpc>
            <a:spcPct val="90000"/>
          </a:lnSpc>
          <a:spcBef>
            <a:spcPct val="20000"/>
          </a:spcBef>
          <a:buSzPct val="90000"/>
          <a:defRPr sz="3200" dirty="0" err="1" smtClean="0">
            <a:solidFill>
              <a:schemeClr val="tx1">
                <a:alpha val="99000"/>
              </a:schemeClr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2_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50000"/>
          </a:schemeClr>
        </a:solidFill>
        <a:ln w="9525">
          <a:noFill/>
          <a:miter lim="800000"/>
          <a:headEnd/>
          <a:tailEnd/>
        </a:ln>
      </a:spPr>
      <a:bodyPr wrap="square" lIns="137172" tIns="34294" rIns="68586" bIns="68586" anchor="b" anchorCtr="0"/>
      <a:lstStyle>
        <a:defPPr defTabSz="685637" fontAlgn="base">
          <a:spcBef>
            <a:spcPct val="0"/>
          </a:spcBef>
          <a:spcAft>
            <a:spcPct val="0"/>
          </a:spcAft>
          <a:defRPr sz="1200" spc="-38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latin typeface="微软雅黑" pitchFamily="34" charset="-122"/>
            <a:ea typeface="微软雅黑" pitchFamily="34" charset="-122"/>
            <a:cs typeface="Segoe UI" pitchFamily="34" charset="0"/>
          </a:defRPr>
        </a:defPPr>
      </a:lstStyle>
    </a:spDef>
  </a:objectDefaults>
  <a:extraClrSchemeLst/>
</a:theme>
</file>

<file path=ppt/theme/theme8.xml><?xml version="1.0" encoding="utf-8"?>
<a:theme xmlns:a="http://schemas.openxmlformats.org/drawingml/2006/main" name="1_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7_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837</TotalTime>
  <Words>2369</Words>
  <Application>Microsoft Office PowerPoint</Application>
  <PresentationFormat>Custom</PresentationFormat>
  <Paragraphs>338</Paragraphs>
  <Slides>27</Slides>
  <Notes>25</Notes>
  <HiddenSlides>0</HiddenSlides>
  <MMClips>0</MMClips>
  <ScaleCrop>false</ScaleCrop>
  <HeadingPairs>
    <vt:vector size="4" baseType="variant">
      <vt:variant>
        <vt:lpstr>Theme</vt:lpstr>
      </vt:variant>
      <vt:variant>
        <vt:i4>11</vt:i4>
      </vt:variant>
      <vt:variant>
        <vt:lpstr>Slide Titles</vt:lpstr>
      </vt:variant>
      <vt:variant>
        <vt:i4>27</vt:i4>
      </vt:variant>
    </vt:vector>
  </HeadingPairs>
  <TitlesOfParts>
    <vt:vector size="38" baseType="lpstr">
      <vt:lpstr>Office 主题</vt:lpstr>
      <vt:lpstr>3_Office 主题</vt:lpstr>
      <vt:lpstr>6_Office 主题</vt:lpstr>
      <vt:lpstr>1_Office 主题​​</vt:lpstr>
      <vt:lpstr>TechEd_2012_Template_16x9</vt:lpstr>
      <vt:lpstr>2_Office 主题​​</vt:lpstr>
      <vt:lpstr>2_Office 主题</vt:lpstr>
      <vt:lpstr>1_Office 主题</vt:lpstr>
      <vt:lpstr>7_Office 主题</vt:lpstr>
      <vt:lpstr>3_Office 主题​​</vt:lpstr>
      <vt:lpstr>5_Office 主题</vt:lpstr>
      <vt:lpstr>Slide 1</vt:lpstr>
      <vt:lpstr>Slide 2</vt:lpstr>
      <vt:lpstr>Slide 3</vt:lpstr>
      <vt:lpstr>Slide 4</vt:lpstr>
      <vt:lpstr>Slide 5</vt:lpstr>
      <vt:lpstr>Slide 6</vt:lpstr>
      <vt:lpstr>Slide 7</vt:lpstr>
      <vt:lpstr>SẢN PHẨM | TÍNH NĂNG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张伟腾</dc:creator>
  <cp:lastModifiedBy>HP 6000 Pro</cp:lastModifiedBy>
  <cp:revision>299</cp:revision>
  <dcterms:created xsi:type="dcterms:W3CDTF">2014-10-19T12:50:01Z</dcterms:created>
  <dcterms:modified xsi:type="dcterms:W3CDTF">2017-01-16T01:51:02Z</dcterms:modified>
</cp:coreProperties>
</file>